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omments/comment1.xml" ContentType="application/vnd.openxmlformats-officedocument.presentationml.comment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377" r:id="rId2"/>
    <p:sldId id="258" r:id="rId3"/>
    <p:sldId id="332" r:id="rId4"/>
    <p:sldId id="333" r:id="rId5"/>
    <p:sldId id="337" r:id="rId6"/>
    <p:sldId id="338" r:id="rId7"/>
    <p:sldId id="339" r:id="rId8"/>
    <p:sldId id="340" r:id="rId9"/>
    <p:sldId id="348" r:id="rId10"/>
    <p:sldId id="372" r:id="rId11"/>
    <p:sldId id="341" r:id="rId12"/>
    <p:sldId id="342" r:id="rId13"/>
    <p:sldId id="353" r:id="rId14"/>
    <p:sldId id="346" r:id="rId15"/>
    <p:sldId id="375" r:id="rId16"/>
    <p:sldId id="376" r:id="rId17"/>
    <p:sldId id="373" r:id="rId18"/>
    <p:sldId id="349" r:id="rId19"/>
    <p:sldId id="350" r:id="rId20"/>
    <p:sldId id="369" r:id="rId21"/>
    <p:sldId id="367" r:id="rId22"/>
    <p:sldId id="378" r:id="rId2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俊德" initials="俊德" lastIdx="3" clrIdx="0"/>
  <p:cmAuthor id="2" name="Eternity" initials="E" lastIdx="1" clrIdx="1"/>
  <p:cmAuthor id="3" name="294" initials="2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2B0"/>
    <a:srgbClr val="588EB6"/>
    <a:srgbClr val="A3C5DD"/>
    <a:srgbClr val="FFB50B"/>
    <a:srgbClr val="CE6900"/>
    <a:srgbClr val="EA9600"/>
    <a:srgbClr val="F49F00"/>
    <a:srgbClr val="A20000"/>
    <a:srgbClr val="A40000"/>
    <a:srgbClr val="9E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85" d="100"/>
          <a:sy n="85" d="100"/>
        </p:scale>
        <p:origin x="590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238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&#24037;&#20316;&#31807;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&#24037;&#20316;&#31807;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/>
              <a:t>各时段题目提交数目统计</a:t>
            </a:r>
            <a:endParaRPr lang="zh-CN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6.8454749956739905E-2"/>
          <c:y val="0.122523116383289"/>
          <c:w val="0.90842794176572705"/>
          <c:h val="0.58310330405688005"/>
        </c:manualLayout>
      </c:layout>
      <c:lineChart>
        <c:grouping val="standard"/>
        <c:varyColors val="0"/>
        <c:ser>
          <c:idx val="0"/>
          <c:order val="0"/>
          <c:tx>
            <c:strRef>
              <c:f>[工作簿1]Sheet1!$B$1</c:f>
              <c:strCache>
                <c:ptCount val="1"/>
                <c:pt idx="0">
                  <c:v>pytho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[工作簿1]Sheet1!$A$2:$A$26</c:f>
              <c:numCache>
                <c:formatCode>h:mm</c:formatCode>
                <c:ptCount val="25"/>
                <c:pt idx="0">
                  <c:v>0</c:v>
                </c:pt>
                <c:pt idx="1">
                  <c:v>4.1666666666666699E-2</c:v>
                </c:pt>
                <c:pt idx="2">
                  <c:v>8.3333333333333301E-2</c:v>
                </c:pt>
                <c:pt idx="3">
                  <c:v>0.125</c:v>
                </c:pt>
                <c:pt idx="4">
                  <c:v>0.16666666666666699</c:v>
                </c:pt>
                <c:pt idx="5">
                  <c:v>0.20833333333333301</c:v>
                </c:pt>
                <c:pt idx="6">
                  <c:v>0.25</c:v>
                </c:pt>
                <c:pt idx="7">
                  <c:v>0.29166666666666702</c:v>
                </c:pt>
                <c:pt idx="8">
                  <c:v>0.33333333333333298</c:v>
                </c:pt>
                <c:pt idx="9">
                  <c:v>0.375</c:v>
                </c:pt>
                <c:pt idx="10">
                  <c:v>0.41666666666666702</c:v>
                </c:pt>
                <c:pt idx="11">
                  <c:v>0.45833333333333298</c:v>
                </c:pt>
                <c:pt idx="12">
                  <c:v>0.5</c:v>
                </c:pt>
                <c:pt idx="13">
                  <c:v>0.54166666666666696</c:v>
                </c:pt>
                <c:pt idx="14">
                  <c:v>0.58333333333333304</c:v>
                </c:pt>
                <c:pt idx="15">
                  <c:v>0.625</c:v>
                </c:pt>
                <c:pt idx="16">
                  <c:v>0.66666666666666696</c:v>
                </c:pt>
                <c:pt idx="17">
                  <c:v>0.70833333333333304</c:v>
                </c:pt>
                <c:pt idx="18">
                  <c:v>0.75</c:v>
                </c:pt>
                <c:pt idx="19">
                  <c:v>0.79166666666666696</c:v>
                </c:pt>
                <c:pt idx="20">
                  <c:v>0.83333333333333304</c:v>
                </c:pt>
                <c:pt idx="21">
                  <c:v>0.875</c:v>
                </c:pt>
                <c:pt idx="22">
                  <c:v>0.91666666666666696</c:v>
                </c:pt>
                <c:pt idx="23">
                  <c:v>0.95833333333333304</c:v>
                </c:pt>
                <c:pt idx="24">
                  <c:v>0</c:v>
                </c:pt>
              </c:numCache>
            </c:numRef>
          </c:cat>
          <c:val>
            <c:numRef>
              <c:f>[工作簿1]Sheet1!$B$2:$B$26</c:f>
              <c:numCache>
                <c:formatCode>General</c:formatCode>
                <c:ptCount val="25"/>
                <c:pt idx="0">
                  <c:v>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5</c:v>
                </c:pt>
                <c:pt idx="9">
                  <c:v>10</c:v>
                </c:pt>
                <c:pt idx="10">
                  <c:v>35</c:v>
                </c:pt>
                <c:pt idx="11">
                  <c:v>20</c:v>
                </c:pt>
                <c:pt idx="12">
                  <c:v>10</c:v>
                </c:pt>
                <c:pt idx="13">
                  <c:v>5</c:v>
                </c:pt>
                <c:pt idx="14">
                  <c:v>8</c:v>
                </c:pt>
                <c:pt idx="15">
                  <c:v>15</c:v>
                </c:pt>
                <c:pt idx="16">
                  <c:v>20</c:v>
                </c:pt>
                <c:pt idx="17">
                  <c:v>18</c:v>
                </c:pt>
                <c:pt idx="18">
                  <c:v>15</c:v>
                </c:pt>
                <c:pt idx="19">
                  <c:v>7</c:v>
                </c:pt>
                <c:pt idx="20">
                  <c:v>13</c:v>
                </c:pt>
                <c:pt idx="21">
                  <c:v>15</c:v>
                </c:pt>
                <c:pt idx="22">
                  <c:v>16</c:v>
                </c:pt>
                <c:pt idx="23">
                  <c:v>0</c:v>
                </c:pt>
                <c:pt idx="24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5A45-4C25-8868-1DECFBF84454}"/>
            </c:ext>
          </c:extLst>
        </c:ser>
        <c:ser>
          <c:idx val="1"/>
          <c:order val="1"/>
          <c:tx>
            <c:strRef>
              <c:f>[工作簿1]Sheet1!$C$1</c:f>
              <c:strCache>
                <c:ptCount val="1"/>
                <c:pt idx="0">
                  <c:v>c++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[工作簿1]Sheet1!$A$2:$A$26</c:f>
              <c:numCache>
                <c:formatCode>h:mm</c:formatCode>
                <c:ptCount val="25"/>
                <c:pt idx="0">
                  <c:v>0</c:v>
                </c:pt>
                <c:pt idx="1">
                  <c:v>4.1666666666666699E-2</c:v>
                </c:pt>
                <c:pt idx="2">
                  <c:v>8.3333333333333301E-2</c:v>
                </c:pt>
                <c:pt idx="3">
                  <c:v>0.125</c:v>
                </c:pt>
                <c:pt idx="4">
                  <c:v>0.16666666666666699</c:v>
                </c:pt>
                <c:pt idx="5">
                  <c:v>0.20833333333333301</c:v>
                </c:pt>
                <c:pt idx="6">
                  <c:v>0.25</c:v>
                </c:pt>
                <c:pt idx="7">
                  <c:v>0.29166666666666702</c:v>
                </c:pt>
                <c:pt idx="8">
                  <c:v>0.33333333333333298</c:v>
                </c:pt>
                <c:pt idx="9">
                  <c:v>0.375</c:v>
                </c:pt>
                <c:pt idx="10">
                  <c:v>0.41666666666666702</c:v>
                </c:pt>
                <c:pt idx="11">
                  <c:v>0.45833333333333298</c:v>
                </c:pt>
                <c:pt idx="12">
                  <c:v>0.5</c:v>
                </c:pt>
                <c:pt idx="13">
                  <c:v>0.54166666666666696</c:v>
                </c:pt>
                <c:pt idx="14">
                  <c:v>0.58333333333333304</c:v>
                </c:pt>
                <c:pt idx="15">
                  <c:v>0.625</c:v>
                </c:pt>
                <c:pt idx="16">
                  <c:v>0.66666666666666696</c:v>
                </c:pt>
                <c:pt idx="17">
                  <c:v>0.70833333333333304</c:v>
                </c:pt>
                <c:pt idx="18">
                  <c:v>0.75</c:v>
                </c:pt>
                <c:pt idx="19">
                  <c:v>0.79166666666666696</c:v>
                </c:pt>
                <c:pt idx="20">
                  <c:v>0.83333333333333304</c:v>
                </c:pt>
                <c:pt idx="21">
                  <c:v>0.875</c:v>
                </c:pt>
                <c:pt idx="22">
                  <c:v>0.91666666666666696</c:v>
                </c:pt>
                <c:pt idx="23">
                  <c:v>0.95833333333333304</c:v>
                </c:pt>
                <c:pt idx="24">
                  <c:v>0</c:v>
                </c:pt>
              </c:numCache>
            </c:numRef>
          </c:cat>
          <c:val>
            <c:numRef>
              <c:f>[工作簿1]Sheet1!$C$2:$C$26</c:f>
              <c:numCache>
                <c:formatCode>General</c:formatCode>
                <c:ptCount val="25"/>
                <c:pt idx="0">
                  <c:v>3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  <c:pt idx="7">
                  <c:v>5</c:v>
                </c:pt>
                <c:pt idx="8">
                  <c:v>9</c:v>
                </c:pt>
                <c:pt idx="9">
                  <c:v>13</c:v>
                </c:pt>
                <c:pt idx="10">
                  <c:v>29</c:v>
                </c:pt>
                <c:pt idx="11">
                  <c:v>24</c:v>
                </c:pt>
                <c:pt idx="12">
                  <c:v>12</c:v>
                </c:pt>
                <c:pt idx="13">
                  <c:v>14</c:v>
                </c:pt>
                <c:pt idx="14">
                  <c:v>25</c:v>
                </c:pt>
                <c:pt idx="15">
                  <c:v>16</c:v>
                </c:pt>
                <c:pt idx="16">
                  <c:v>18</c:v>
                </c:pt>
                <c:pt idx="17">
                  <c:v>22</c:v>
                </c:pt>
                <c:pt idx="18">
                  <c:v>10</c:v>
                </c:pt>
                <c:pt idx="19">
                  <c:v>6</c:v>
                </c:pt>
                <c:pt idx="20">
                  <c:v>16</c:v>
                </c:pt>
                <c:pt idx="21">
                  <c:v>20</c:v>
                </c:pt>
                <c:pt idx="22">
                  <c:v>10</c:v>
                </c:pt>
                <c:pt idx="23">
                  <c:v>9</c:v>
                </c:pt>
                <c:pt idx="24">
                  <c:v>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5A45-4C25-8868-1DECFBF844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63630463"/>
        <c:axId val="1863630879"/>
      </c:lineChart>
      <c:catAx>
        <c:axId val="1863630463"/>
        <c:scaling>
          <c:orientation val="minMax"/>
        </c:scaling>
        <c:delete val="0"/>
        <c:axPos val="b"/>
        <c:numFmt formatCode="h:mm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863630879"/>
        <c:crosses val="autoZero"/>
        <c:auto val="1"/>
        <c:lblAlgn val="ctr"/>
        <c:lblOffset val="100"/>
        <c:noMultiLvlLbl val="0"/>
      </c:catAx>
      <c:valAx>
        <c:axId val="1863630879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86363046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chemeClr val="accent3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/>
              <a:t>各时段题目提交数目统计</a:t>
            </a:r>
            <a:endParaRPr lang="zh-CN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[工作簿1]Sheet1!$B$1</c:f>
              <c:strCache>
                <c:ptCount val="1"/>
                <c:pt idx="0">
                  <c:v>pytho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[工作簿1]Sheet1!$A$2:$A$26</c:f>
              <c:numCache>
                <c:formatCode>h:mm</c:formatCode>
                <c:ptCount val="25"/>
                <c:pt idx="0">
                  <c:v>0</c:v>
                </c:pt>
                <c:pt idx="1">
                  <c:v>4.1666666666666699E-2</c:v>
                </c:pt>
                <c:pt idx="2">
                  <c:v>8.3333333333333301E-2</c:v>
                </c:pt>
                <c:pt idx="3">
                  <c:v>0.125</c:v>
                </c:pt>
                <c:pt idx="4">
                  <c:v>0.16666666666666699</c:v>
                </c:pt>
                <c:pt idx="5">
                  <c:v>0.20833333333333301</c:v>
                </c:pt>
                <c:pt idx="6">
                  <c:v>0.25</c:v>
                </c:pt>
                <c:pt idx="7">
                  <c:v>0.29166666666666702</c:v>
                </c:pt>
                <c:pt idx="8">
                  <c:v>0.33333333333333298</c:v>
                </c:pt>
                <c:pt idx="9">
                  <c:v>0.375</c:v>
                </c:pt>
                <c:pt idx="10">
                  <c:v>0.41666666666666702</c:v>
                </c:pt>
                <c:pt idx="11">
                  <c:v>0.45833333333333298</c:v>
                </c:pt>
                <c:pt idx="12">
                  <c:v>0.5</c:v>
                </c:pt>
                <c:pt idx="13">
                  <c:v>0.54166666666666696</c:v>
                </c:pt>
                <c:pt idx="14">
                  <c:v>0.58333333333333304</c:v>
                </c:pt>
                <c:pt idx="15">
                  <c:v>0.625</c:v>
                </c:pt>
                <c:pt idx="16">
                  <c:v>0.66666666666666696</c:v>
                </c:pt>
                <c:pt idx="17">
                  <c:v>0.70833333333333304</c:v>
                </c:pt>
                <c:pt idx="18">
                  <c:v>0.75</c:v>
                </c:pt>
                <c:pt idx="19">
                  <c:v>0.79166666666666696</c:v>
                </c:pt>
                <c:pt idx="20">
                  <c:v>0.83333333333333304</c:v>
                </c:pt>
                <c:pt idx="21">
                  <c:v>0.875</c:v>
                </c:pt>
                <c:pt idx="22">
                  <c:v>0.91666666666666696</c:v>
                </c:pt>
                <c:pt idx="23">
                  <c:v>0.95833333333333304</c:v>
                </c:pt>
                <c:pt idx="24">
                  <c:v>0</c:v>
                </c:pt>
              </c:numCache>
            </c:numRef>
          </c:cat>
          <c:val>
            <c:numRef>
              <c:f>[工作簿1]Sheet1!$B$2:$B$26</c:f>
              <c:numCache>
                <c:formatCode>General</c:formatCode>
                <c:ptCount val="25"/>
                <c:pt idx="0">
                  <c:v>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5</c:v>
                </c:pt>
                <c:pt idx="9">
                  <c:v>10</c:v>
                </c:pt>
                <c:pt idx="10">
                  <c:v>35</c:v>
                </c:pt>
                <c:pt idx="11">
                  <c:v>20</c:v>
                </c:pt>
                <c:pt idx="12">
                  <c:v>10</c:v>
                </c:pt>
                <c:pt idx="13">
                  <c:v>5</c:v>
                </c:pt>
                <c:pt idx="14">
                  <c:v>8</c:v>
                </c:pt>
                <c:pt idx="15">
                  <c:v>15</c:v>
                </c:pt>
                <c:pt idx="16">
                  <c:v>20</c:v>
                </c:pt>
                <c:pt idx="17">
                  <c:v>18</c:v>
                </c:pt>
                <c:pt idx="18">
                  <c:v>15</c:v>
                </c:pt>
                <c:pt idx="19">
                  <c:v>7</c:v>
                </c:pt>
                <c:pt idx="20">
                  <c:v>13</c:v>
                </c:pt>
                <c:pt idx="21">
                  <c:v>15</c:v>
                </c:pt>
                <c:pt idx="22">
                  <c:v>16</c:v>
                </c:pt>
                <c:pt idx="23">
                  <c:v>0</c:v>
                </c:pt>
                <c:pt idx="24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35E-45D0-844B-996012C26156}"/>
            </c:ext>
          </c:extLst>
        </c:ser>
        <c:ser>
          <c:idx val="1"/>
          <c:order val="1"/>
          <c:tx>
            <c:strRef>
              <c:f>[工作簿1]Sheet1!$C$1</c:f>
              <c:strCache>
                <c:ptCount val="1"/>
                <c:pt idx="0">
                  <c:v>c++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[工作簿1]Sheet1!$A$2:$A$26</c:f>
              <c:numCache>
                <c:formatCode>h:mm</c:formatCode>
                <c:ptCount val="25"/>
                <c:pt idx="0">
                  <c:v>0</c:v>
                </c:pt>
                <c:pt idx="1">
                  <c:v>4.1666666666666699E-2</c:v>
                </c:pt>
                <c:pt idx="2">
                  <c:v>8.3333333333333301E-2</c:v>
                </c:pt>
                <c:pt idx="3">
                  <c:v>0.125</c:v>
                </c:pt>
                <c:pt idx="4">
                  <c:v>0.16666666666666699</c:v>
                </c:pt>
                <c:pt idx="5">
                  <c:v>0.20833333333333301</c:v>
                </c:pt>
                <c:pt idx="6">
                  <c:v>0.25</c:v>
                </c:pt>
                <c:pt idx="7">
                  <c:v>0.29166666666666702</c:v>
                </c:pt>
                <c:pt idx="8">
                  <c:v>0.33333333333333298</c:v>
                </c:pt>
                <c:pt idx="9">
                  <c:v>0.375</c:v>
                </c:pt>
                <c:pt idx="10">
                  <c:v>0.41666666666666702</c:v>
                </c:pt>
                <c:pt idx="11">
                  <c:v>0.45833333333333298</c:v>
                </c:pt>
                <c:pt idx="12">
                  <c:v>0.5</c:v>
                </c:pt>
                <c:pt idx="13">
                  <c:v>0.54166666666666696</c:v>
                </c:pt>
                <c:pt idx="14">
                  <c:v>0.58333333333333304</c:v>
                </c:pt>
                <c:pt idx="15">
                  <c:v>0.625</c:v>
                </c:pt>
                <c:pt idx="16">
                  <c:v>0.66666666666666696</c:v>
                </c:pt>
                <c:pt idx="17">
                  <c:v>0.70833333333333304</c:v>
                </c:pt>
                <c:pt idx="18">
                  <c:v>0.75</c:v>
                </c:pt>
                <c:pt idx="19">
                  <c:v>0.79166666666666696</c:v>
                </c:pt>
                <c:pt idx="20">
                  <c:v>0.83333333333333304</c:v>
                </c:pt>
                <c:pt idx="21">
                  <c:v>0.875</c:v>
                </c:pt>
                <c:pt idx="22">
                  <c:v>0.91666666666666696</c:v>
                </c:pt>
                <c:pt idx="23">
                  <c:v>0.95833333333333304</c:v>
                </c:pt>
                <c:pt idx="24">
                  <c:v>0</c:v>
                </c:pt>
              </c:numCache>
            </c:numRef>
          </c:cat>
          <c:val>
            <c:numRef>
              <c:f>[工作簿1]Sheet1!$C$2:$C$26</c:f>
              <c:numCache>
                <c:formatCode>General</c:formatCode>
                <c:ptCount val="25"/>
                <c:pt idx="0">
                  <c:v>3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  <c:pt idx="7">
                  <c:v>5</c:v>
                </c:pt>
                <c:pt idx="8">
                  <c:v>9</c:v>
                </c:pt>
                <c:pt idx="9">
                  <c:v>13</c:v>
                </c:pt>
                <c:pt idx="10">
                  <c:v>29</c:v>
                </c:pt>
                <c:pt idx="11">
                  <c:v>24</c:v>
                </c:pt>
                <c:pt idx="12">
                  <c:v>12</c:v>
                </c:pt>
                <c:pt idx="13">
                  <c:v>14</c:v>
                </c:pt>
                <c:pt idx="14">
                  <c:v>25</c:v>
                </c:pt>
                <c:pt idx="15">
                  <c:v>16</c:v>
                </c:pt>
                <c:pt idx="16">
                  <c:v>18</c:v>
                </c:pt>
                <c:pt idx="17">
                  <c:v>22</c:v>
                </c:pt>
                <c:pt idx="18">
                  <c:v>10</c:v>
                </c:pt>
                <c:pt idx="19">
                  <c:v>6</c:v>
                </c:pt>
                <c:pt idx="20">
                  <c:v>16</c:v>
                </c:pt>
                <c:pt idx="21">
                  <c:v>20</c:v>
                </c:pt>
                <c:pt idx="22">
                  <c:v>10</c:v>
                </c:pt>
                <c:pt idx="23">
                  <c:v>9</c:v>
                </c:pt>
                <c:pt idx="24">
                  <c:v>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235E-45D0-844B-996012C261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63630463"/>
        <c:axId val="1863630879"/>
      </c:lineChart>
      <c:catAx>
        <c:axId val="1863630463"/>
        <c:scaling>
          <c:orientation val="minMax"/>
        </c:scaling>
        <c:delete val="0"/>
        <c:axPos val="b"/>
        <c:numFmt formatCode="h:mm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863630879"/>
        <c:crosses val="autoZero"/>
        <c:auto val="1"/>
        <c:lblAlgn val="ctr"/>
        <c:lblOffset val="100"/>
        <c:noMultiLvlLbl val="0"/>
      </c:catAx>
      <c:valAx>
        <c:axId val="1863630879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86363046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chemeClr val="accent3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21-09-25T17:17:04.721" idx="1">
    <p:pos x="7064" y="482"/>
    <p:text/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#1">
  <dgm:title val=""/>
  <dgm:desc val=""/>
  <dgm:catLst>
    <dgm:cat type="colorful" pri="10200"/>
  </dgm:catLst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#2">
  <dgm:title val=""/>
  <dgm:desc val=""/>
  <dgm:catLst>
    <dgm:cat type="colorful" pri="10200"/>
  </dgm:catLst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2#1">
  <dgm:title val=""/>
  <dgm:desc val=""/>
  <dgm:catLst>
    <dgm:cat type="accent2" pri="11200"/>
  </dgm:catLst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0E259BE-FD81-44F8-8AD8-696122467FE8}" type="doc">
      <dgm:prSet loTypeId="urn:microsoft.com/office/officeart/2005/8/layout/hList9#1" loCatId="list" qsTypeId="urn:microsoft.com/office/officeart/2005/8/quickstyle/simple1#1" qsCatId="simple" csTypeId="urn:microsoft.com/office/officeart/2005/8/colors/colorful2#1" csCatId="accent1" phldr="1"/>
      <dgm:spPr/>
      <dgm:t>
        <a:bodyPr/>
        <a:lstStyle/>
        <a:p>
          <a:endParaRPr lang="zh-CN" altLang="en-US"/>
        </a:p>
      </dgm:t>
    </dgm:pt>
    <dgm:pt modelId="{D49F27BA-C7D4-47F5-A566-6558CB160CCE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/>
            <a:t>在线评测系统（online judge）</a:t>
          </a:r>
        </a:p>
      </dgm:t>
    </dgm:pt>
    <dgm:pt modelId="{DFF52EEB-FE15-4438-9ABF-8177F955BE98}" type="parTrans" cxnId="{022226D3-9A07-4B44-9871-BE43880469CA}">
      <dgm:prSet/>
      <dgm:spPr/>
      <dgm:t>
        <a:bodyPr/>
        <a:lstStyle/>
        <a:p>
          <a:endParaRPr lang="zh-CN" altLang="en-US"/>
        </a:p>
      </dgm:t>
    </dgm:pt>
    <dgm:pt modelId="{6C7F23EE-527F-445D-A03B-C095553F5BFB}" type="sibTrans" cxnId="{022226D3-9A07-4B44-9871-BE43880469CA}">
      <dgm:prSet/>
      <dgm:spPr/>
      <dgm:t>
        <a:bodyPr/>
        <a:lstStyle/>
        <a:p>
          <a:endParaRPr lang="zh-CN" altLang="en-US"/>
        </a:p>
      </dgm:t>
    </dgm:pt>
    <dgm:pt modelId="{1A95FDA0-3844-435D-9E9C-86ADA9E455A3}">
      <dgm:prSet phldrT="[文本]" phldr="0" custT="1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zh-CN" altLang="en-US" sz="1800" dirty="0"/>
        </a:p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dirty="0"/>
            <a:t>针对系统用户的可提供在线服务的一种系统，或指一个在线的评测系统。</a:t>
          </a:r>
          <a:endParaRPr lang="zh-CN" altLang="en-US" sz="1200" dirty="0"/>
        </a:p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zh-CN" altLang="en-US" sz="1200" dirty="0"/>
        </a:p>
      </dgm:t>
    </dgm:pt>
    <dgm:pt modelId="{087CCA06-0DDB-4D11-83D1-BCE3FCB04E7F}" type="parTrans" cxnId="{BE6D2B3F-9BB4-4FD4-ADFA-EEF487B1FDE7}">
      <dgm:prSet/>
      <dgm:spPr/>
      <dgm:t>
        <a:bodyPr/>
        <a:lstStyle/>
        <a:p>
          <a:endParaRPr lang="zh-CN" altLang="en-US"/>
        </a:p>
      </dgm:t>
    </dgm:pt>
    <dgm:pt modelId="{8D56E4F9-6742-478E-A47A-C0FA477F77A1}" type="sibTrans" cxnId="{BE6D2B3F-9BB4-4FD4-ADFA-EEF487B1FDE7}">
      <dgm:prSet/>
      <dgm:spPr/>
      <dgm:t>
        <a:bodyPr/>
        <a:lstStyle/>
        <a:p>
          <a:endParaRPr lang="zh-CN" altLang="en-US"/>
        </a:p>
      </dgm:t>
    </dgm:pt>
    <dgm:pt modelId="{9EA2BCD1-0D78-4E94-A73B-32D726AF7A4B}">
      <dgm:prSet phldrT="[文本]" phldr="0" custT="1"/>
      <dgm:spPr/>
      <dgm:t>
        <a:bodyPr vert="horz" wrap="square"/>
        <a:lstStyle/>
        <a:p>
          <a:pPr algn="l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zh-CN" altLang="en-US" sz="1600" dirty="0">
            <a:sym typeface="+mn-ea"/>
          </a:endParaRPr>
        </a:p>
      </dgm:t>
    </dgm:pt>
    <dgm:pt modelId="{953B678C-BBCF-4B85-A6D8-4576A3CAAE8A}" type="parTrans" cxnId="{459668A6-8076-4CAC-BFA0-2E64511A0A2F}">
      <dgm:prSet/>
      <dgm:spPr/>
      <dgm:t>
        <a:bodyPr/>
        <a:lstStyle/>
        <a:p>
          <a:endParaRPr lang="zh-CN" altLang="en-US"/>
        </a:p>
      </dgm:t>
    </dgm:pt>
    <dgm:pt modelId="{987F1CEA-C3B3-4FDA-9632-03C9D800C3D3}" type="sibTrans" cxnId="{459668A6-8076-4CAC-BFA0-2E64511A0A2F}">
      <dgm:prSet/>
      <dgm:spPr/>
      <dgm:t>
        <a:bodyPr/>
        <a:lstStyle/>
        <a:p>
          <a:endParaRPr lang="zh-CN" altLang="en-US"/>
        </a:p>
      </dgm:t>
    </dgm:pt>
    <dgm:pt modelId="{A8D79439-D5EC-4A2C-8886-3366D5388AE4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/>
            <a:t>发展现状和改善</a:t>
          </a:r>
        </a:p>
      </dgm:t>
    </dgm:pt>
    <dgm:pt modelId="{76D1CF85-CE3E-482B-BBDE-33CB26C491B3}" type="parTrans" cxnId="{FA87280E-A46D-4C77-BDCF-2A63103D9993}">
      <dgm:prSet/>
      <dgm:spPr/>
      <dgm:t>
        <a:bodyPr/>
        <a:lstStyle/>
        <a:p>
          <a:endParaRPr lang="zh-CN" altLang="en-US"/>
        </a:p>
      </dgm:t>
    </dgm:pt>
    <dgm:pt modelId="{894E5B85-0B0F-4179-80FC-578AC7607573}" type="sibTrans" cxnId="{FA87280E-A46D-4C77-BDCF-2A63103D9993}">
      <dgm:prSet/>
      <dgm:spPr/>
      <dgm:t>
        <a:bodyPr/>
        <a:lstStyle/>
        <a:p>
          <a:endParaRPr lang="zh-CN" altLang="en-US"/>
        </a:p>
      </dgm:t>
    </dgm:pt>
    <dgm:pt modelId="{3551B63F-97E5-4C25-8E48-EA3324E4693A}">
      <dgm:prSet phldrT="[文本]" phldr="0" custT="1"/>
      <dgm:spPr/>
      <dgm:t>
        <a:bodyPr vert="horz" wrap="square"/>
        <a:lstStyle/>
        <a:p>
          <a:pPr>
            <a:lnSpc>
              <a:spcPct val="110000"/>
            </a:lnSpc>
            <a:spcBef>
              <a:spcPct val="0"/>
            </a:spcBef>
            <a:spcAft>
              <a:spcPct val="35000"/>
            </a:spcAft>
          </a:pPr>
          <a:endParaRPr lang="zh-CN" altLang="en-US" sz="1400" dirty="0"/>
        </a:p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dirty="0"/>
            <a:t>	</a:t>
          </a:r>
        </a:p>
      </dgm:t>
    </dgm:pt>
    <dgm:pt modelId="{D45CBEB4-CA5A-42B2-A8B1-A227C3D51854}" type="parTrans" cxnId="{5F4B59F0-2177-4A10-929B-B53220FF4221}">
      <dgm:prSet/>
      <dgm:spPr/>
      <dgm:t>
        <a:bodyPr/>
        <a:lstStyle/>
        <a:p>
          <a:endParaRPr lang="zh-CN" altLang="en-US"/>
        </a:p>
      </dgm:t>
    </dgm:pt>
    <dgm:pt modelId="{2A745622-EF74-41CE-8640-57C9EC089F05}" type="sibTrans" cxnId="{5F4B59F0-2177-4A10-929B-B53220FF4221}">
      <dgm:prSet/>
      <dgm:spPr/>
      <dgm:t>
        <a:bodyPr/>
        <a:lstStyle/>
        <a:p>
          <a:endParaRPr lang="zh-CN" altLang="en-US"/>
        </a:p>
      </dgm:t>
    </dgm:pt>
    <dgm:pt modelId="{D04FF620-4B41-4CAA-8929-514DCBD2266E}">
      <dgm:prSet phldrT="[文本]" phldr="0" custT="1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dirty="0">
              <a:sym typeface="+mn-ea"/>
            </a:rPr>
            <a:t>本项目在传统在线测试平台中融入智能元素，克服了以上缺点。</a:t>
          </a:r>
        </a:p>
      </dgm:t>
    </dgm:pt>
    <dgm:pt modelId="{3BC6F2F2-8C49-4C58-B5DA-8E98379C9847}" type="parTrans" cxnId="{F2B4B776-7418-457A-B091-BB9DE872333F}">
      <dgm:prSet/>
      <dgm:spPr/>
      <dgm:t>
        <a:bodyPr/>
        <a:lstStyle/>
        <a:p>
          <a:endParaRPr lang="zh-CN" altLang="en-US"/>
        </a:p>
      </dgm:t>
    </dgm:pt>
    <dgm:pt modelId="{0E2F740E-37D3-4AE1-8588-8A1DD86262F2}" type="sibTrans" cxnId="{F2B4B776-7418-457A-B091-BB9DE872333F}">
      <dgm:prSet/>
      <dgm:spPr/>
      <dgm:t>
        <a:bodyPr/>
        <a:lstStyle/>
        <a:p>
          <a:endParaRPr lang="zh-CN" altLang="en-US"/>
        </a:p>
      </dgm:t>
    </dgm:pt>
    <dgm:pt modelId="{73F0E6AA-1B12-4917-A5B9-27714EB21A6F}" type="pres">
      <dgm:prSet presAssocID="{70E259BE-FD81-44F8-8AD8-696122467FE8}" presName="list" presStyleCnt="0">
        <dgm:presLayoutVars>
          <dgm:dir/>
          <dgm:animLvl val="lvl"/>
        </dgm:presLayoutVars>
      </dgm:prSet>
      <dgm:spPr/>
    </dgm:pt>
    <dgm:pt modelId="{9EB08046-B0A8-40D6-9F0C-C2EFDB819E01}" type="pres">
      <dgm:prSet presAssocID="{D49F27BA-C7D4-47F5-A566-6558CB160CCE}" presName="posSpace" presStyleCnt="0"/>
      <dgm:spPr/>
    </dgm:pt>
    <dgm:pt modelId="{771756F4-E425-4246-8438-12F2B4FD2670}" type="pres">
      <dgm:prSet presAssocID="{D49F27BA-C7D4-47F5-A566-6558CB160CCE}" presName="vertFlow" presStyleCnt="0"/>
      <dgm:spPr/>
    </dgm:pt>
    <dgm:pt modelId="{55853259-BBE5-4C45-95ED-7DCB7230171A}" type="pres">
      <dgm:prSet presAssocID="{D49F27BA-C7D4-47F5-A566-6558CB160CCE}" presName="topSpace" presStyleCnt="0"/>
      <dgm:spPr/>
    </dgm:pt>
    <dgm:pt modelId="{8C960F9D-26EC-4627-9CF2-7B18C666CB35}" type="pres">
      <dgm:prSet presAssocID="{D49F27BA-C7D4-47F5-A566-6558CB160CCE}" presName="firstComp" presStyleCnt="0"/>
      <dgm:spPr/>
    </dgm:pt>
    <dgm:pt modelId="{F8D49E38-B053-4501-BD89-EB8E5A6A61CD}" type="pres">
      <dgm:prSet presAssocID="{D49F27BA-C7D4-47F5-A566-6558CB160CCE}" presName="firstChild" presStyleLbl="bgAccFollowNode1" presStyleIdx="0" presStyleCnt="4"/>
      <dgm:spPr/>
    </dgm:pt>
    <dgm:pt modelId="{28FDBCD3-F61A-450D-892D-E8EA240C3445}" type="pres">
      <dgm:prSet presAssocID="{D49F27BA-C7D4-47F5-A566-6558CB160CCE}" presName="firstChildTx" presStyleLbl="bgAccFollowNode1" presStyleIdx="0" presStyleCnt="4">
        <dgm:presLayoutVars>
          <dgm:bulletEnabled val="1"/>
        </dgm:presLayoutVars>
      </dgm:prSet>
      <dgm:spPr/>
    </dgm:pt>
    <dgm:pt modelId="{36B998BC-CC63-4AE7-B372-7EA6115622C7}" type="pres">
      <dgm:prSet presAssocID="{9EA2BCD1-0D78-4E94-A73B-32D726AF7A4B}" presName="comp" presStyleCnt="0"/>
      <dgm:spPr/>
    </dgm:pt>
    <dgm:pt modelId="{01119332-89A2-4784-81C1-FF89BAFEA3B2}" type="pres">
      <dgm:prSet presAssocID="{9EA2BCD1-0D78-4E94-A73B-32D726AF7A4B}" presName="child" presStyleLbl="bgAccFollowNode1" presStyleIdx="1" presStyleCnt="4"/>
      <dgm:spPr/>
    </dgm:pt>
    <dgm:pt modelId="{EB91C378-F5E2-4623-A32D-0429BACB9378}" type="pres">
      <dgm:prSet presAssocID="{9EA2BCD1-0D78-4E94-A73B-32D726AF7A4B}" presName="childTx" presStyleLbl="bgAccFollowNode1" presStyleIdx="1" presStyleCnt="4">
        <dgm:presLayoutVars>
          <dgm:bulletEnabled val="1"/>
        </dgm:presLayoutVars>
      </dgm:prSet>
      <dgm:spPr/>
    </dgm:pt>
    <dgm:pt modelId="{E16CB8C9-D1FB-4FF3-8667-AEACA8E83E5C}" type="pres">
      <dgm:prSet presAssocID="{D49F27BA-C7D4-47F5-A566-6558CB160CCE}" presName="negSpace" presStyleCnt="0"/>
      <dgm:spPr/>
    </dgm:pt>
    <dgm:pt modelId="{92447B8B-B043-4F04-A3B7-D0DE831D4431}" type="pres">
      <dgm:prSet presAssocID="{D49F27BA-C7D4-47F5-A566-6558CB160CCE}" presName="circle" presStyleLbl="node1" presStyleIdx="0" presStyleCnt="2"/>
      <dgm:spPr/>
    </dgm:pt>
    <dgm:pt modelId="{86EC9F84-227C-4E06-9DF9-580577FF07E6}" type="pres">
      <dgm:prSet presAssocID="{6C7F23EE-527F-445D-A03B-C095553F5BFB}" presName="transSpace" presStyleCnt="0"/>
      <dgm:spPr/>
    </dgm:pt>
    <dgm:pt modelId="{18930822-DE8A-4ABA-986D-CE814670A45E}" type="pres">
      <dgm:prSet presAssocID="{A8D79439-D5EC-4A2C-8886-3366D5388AE4}" presName="posSpace" presStyleCnt="0"/>
      <dgm:spPr/>
    </dgm:pt>
    <dgm:pt modelId="{0A15879E-9902-4979-B022-1C436A8138BA}" type="pres">
      <dgm:prSet presAssocID="{A8D79439-D5EC-4A2C-8886-3366D5388AE4}" presName="vertFlow" presStyleCnt="0"/>
      <dgm:spPr/>
    </dgm:pt>
    <dgm:pt modelId="{B212BFCE-AFC4-4470-9DE6-F92A458943E5}" type="pres">
      <dgm:prSet presAssocID="{A8D79439-D5EC-4A2C-8886-3366D5388AE4}" presName="topSpace" presStyleCnt="0"/>
      <dgm:spPr/>
    </dgm:pt>
    <dgm:pt modelId="{9C59777D-1DF0-421E-9582-AB045FE3CF8B}" type="pres">
      <dgm:prSet presAssocID="{A8D79439-D5EC-4A2C-8886-3366D5388AE4}" presName="firstComp" presStyleCnt="0"/>
      <dgm:spPr/>
    </dgm:pt>
    <dgm:pt modelId="{B4EA86C9-9645-41DF-AB1C-E026D8E8F43F}" type="pres">
      <dgm:prSet presAssocID="{A8D79439-D5EC-4A2C-8886-3366D5388AE4}" presName="firstChild" presStyleLbl="bgAccFollowNode1" presStyleIdx="2" presStyleCnt="4"/>
      <dgm:spPr/>
    </dgm:pt>
    <dgm:pt modelId="{FFBACF87-1AED-4FB0-90AE-33D277960054}" type="pres">
      <dgm:prSet presAssocID="{A8D79439-D5EC-4A2C-8886-3366D5388AE4}" presName="firstChildTx" presStyleLbl="bgAccFollowNode1" presStyleIdx="2" presStyleCnt="4">
        <dgm:presLayoutVars>
          <dgm:bulletEnabled val="1"/>
        </dgm:presLayoutVars>
      </dgm:prSet>
      <dgm:spPr/>
    </dgm:pt>
    <dgm:pt modelId="{CBE40A5F-D0EC-4B4A-A524-5B4A3F2C8285}" type="pres">
      <dgm:prSet presAssocID="{D04FF620-4B41-4CAA-8929-514DCBD2266E}" presName="comp" presStyleCnt="0"/>
      <dgm:spPr/>
    </dgm:pt>
    <dgm:pt modelId="{9C36922A-5FA7-4B49-8BAB-B4B99DE5740F}" type="pres">
      <dgm:prSet presAssocID="{D04FF620-4B41-4CAA-8929-514DCBD2266E}" presName="child" presStyleLbl="bgAccFollowNode1" presStyleIdx="3" presStyleCnt="4"/>
      <dgm:spPr/>
    </dgm:pt>
    <dgm:pt modelId="{FF591285-8ECD-4413-A53B-011294184BA2}" type="pres">
      <dgm:prSet presAssocID="{D04FF620-4B41-4CAA-8929-514DCBD2266E}" presName="childTx" presStyleLbl="bgAccFollowNode1" presStyleIdx="3" presStyleCnt="4">
        <dgm:presLayoutVars>
          <dgm:bulletEnabled val="1"/>
        </dgm:presLayoutVars>
      </dgm:prSet>
      <dgm:spPr/>
    </dgm:pt>
    <dgm:pt modelId="{F8B169DC-C365-4F65-9BF5-245F62A807F7}" type="pres">
      <dgm:prSet presAssocID="{A8D79439-D5EC-4A2C-8886-3366D5388AE4}" presName="negSpace" presStyleCnt="0"/>
      <dgm:spPr/>
    </dgm:pt>
    <dgm:pt modelId="{789C2E5F-53BE-4B9F-8B8F-155498EB6E4B}" type="pres">
      <dgm:prSet presAssocID="{A8D79439-D5EC-4A2C-8886-3366D5388AE4}" presName="circle" presStyleLbl="node1" presStyleIdx="1" presStyleCnt="2"/>
      <dgm:spPr/>
    </dgm:pt>
  </dgm:ptLst>
  <dgm:cxnLst>
    <dgm:cxn modelId="{FA87280E-A46D-4C77-BDCF-2A63103D9993}" srcId="{70E259BE-FD81-44F8-8AD8-696122467FE8}" destId="{A8D79439-D5EC-4A2C-8886-3366D5388AE4}" srcOrd="1" destOrd="0" parTransId="{76D1CF85-CE3E-482B-BBDE-33CB26C491B3}" sibTransId="{894E5B85-0B0F-4179-80FC-578AC7607573}"/>
    <dgm:cxn modelId="{17CC3C1F-C384-4610-BAFF-D7EDA6CBFF16}" type="presOf" srcId="{1A95FDA0-3844-435D-9E9C-86ADA9E455A3}" destId="{28FDBCD3-F61A-450D-892D-E8EA240C3445}" srcOrd="1" destOrd="0" presId="urn:microsoft.com/office/officeart/2005/8/layout/hList9#1"/>
    <dgm:cxn modelId="{93A4412B-94E7-4B7D-A63D-766A7FDF97E0}" type="presOf" srcId="{D04FF620-4B41-4CAA-8929-514DCBD2266E}" destId="{9C36922A-5FA7-4B49-8BAB-B4B99DE5740F}" srcOrd="0" destOrd="0" presId="urn:microsoft.com/office/officeart/2005/8/layout/hList9#1"/>
    <dgm:cxn modelId="{A9EB3138-8913-4443-9342-01A34430ADF9}" type="presOf" srcId="{9EA2BCD1-0D78-4E94-A73B-32D726AF7A4B}" destId="{EB91C378-F5E2-4623-A32D-0429BACB9378}" srcOrd="1" destOrd="0" presId="urn:microsoft.com/office/officeart/2005/8/layout/hList9#1"/>
    <dgm:cxn modelId="{BE6D2B3F-9BB4-4FD4-ADFA-EEF487B1FDE7}" srcId="{D49F27BA-C7D4-47F5-A566-6558CB160CCE}" destId="{1A95FDA0-3844-435D-9E9C-86ADA9E455A3}" srcOrd="0" destOrd="0" parTransId="{087CCA06-0DDB-4D11-83D1-BCE3FCB04E7F}" sibTransId="{8D56E4F9-6742-478E-A47A-C0FA477F77A1}"/>
    <dgm:cxn modelId="{B292A168-D481-4B9B-8DA5-582C8DCB7493}" type="presOf" srcId="{3551B63F-97E5-4C25-8E48-EA3324E4693A}" destId="{FFBACF87-1AED-4FB0-90AE-33D277960054}" srcOrd="1" destOrd="0" presId="urn:microsoft.com/office/officeart/2005/8/layout/hList9#1"/>
    <dgm:cxn modelId="{62BFE873-34BC-4D8F-8AA2-64B9F1D3372C}" type="presOf" srcId="{3551B63F-97E5-4C25-8E48-EA3324E4693A}" destId="{B4EA86C9-9645-41DF-AB1C-E026D8E8F43F}" srcOrd="0" destOrd="0" presId="urn:microsoft.com/office/officeart/2005/8/layout/hList9#1"/>
    <dgm:cxn modelId="{F2B4B776-7418-457A-B091-BB9DE872333F}" srcId="{A8D79439-D5EC-4A2C-8886-3366D5388AE4}" destId="{D04FF620-4B41-4CAA-8929-514DCBD2266E}" srcOrd="1" destOrd="0" parTransId="{3BC6F2F2-8C49-4C58-B5DA-8E98379C9847}" sibTransId="{0E2F740E-37D3-4AE1-8588-8A1DD86262F2}"/>
    <dgm:cxn modelId="{F2FDE683-D9B5-4029-8DAE-1AC8A30F6AB0}" type="presOf" srcId="{D49F27BA-C7D4-47F5-A566-6558CB160CCE}" destId="{92447B8B-B043-4F04-A3B7-D0DE831D4431}" srcOrd="0" destOrd="0" presId="urn:microsoft.com/office/officeart/2005/8/layout/hList9#1"/>
    <dgm:cxn modelId="{928B0F87-FCAB-48FB-ACA5-8FE18117676D}" type="presOf" srcId="{9EA2BCD1-0D78-4E94-A73B-32D726AF7A4B}" destId="{01119332-89A2-4784-81C1-FF89BAFEA3B2}" srcOrd="0" destOrd="0" presId="urn:microsoft.com/office/officeart/2005/8/layout/hList9#1"/>
    <dgm:cxn modelId="{06CB0DA2-B572-41E0-89DA-19478DD49AC1}" type="presOf" srcId="{A8D79439-D5EC-4A2C-8886-3366D5388AE4}" destId="{789C2E5F-53BE-4B9F-8B8F-155498EB6E4B}" srcOrd="0" destOrd="0" presId="urn:microsoft.com/office/officeart/2005/8/layout/hList9#1"/>
    <dgm:cxn modelId="{155F11A5-7A2E-4ACD-AE1E-00B06C6FE155}" type="presOf" srcId="{1A95FDA0-3844-435D-9E9C-86ADA9E455A3}" destId="{F8D49E38-B053-4501-BD89-EB8E5A6A61CD}" srcOrd="0" destOrd="0" presId="urn:microsoft.com/office/officeart/2005/8/layout/hList9#1"/>
    <dgm:cxn modelId="{459668A6-8076-4CAC-BFA0-2E64511A0A2F}" srcId="{D49F27BA-C7D4-47F5-A566-6558CB160CCE}" destId="{9EA2BCD1-0D78-4E94-A73B-32D726AF7A4B}" srcOrd="1" destOrd="0" parTransId="{953B678C-BBCF-4B85-A6D8-4576A3CAAE8A}" sibTransId="{987F1CEA-C3B3-4FDA-9632-03C9D800C3D3}"/>
    <dgm:cxn modelId="{716B3CBB-395A-49EF-91CD-4910023A921C}" type="presOf" srcId="{70E259BE-FD81-44F8-8AD8-696122467FE8}" destId="{73F0E6AA-1B12-4917-A5B9-27714EB21A6F}" srcOrd="0" destOrd="0" presId="urn:microsoft.com/office/officeart/2005/8/layout/hList9#1"/>
    <dgm:cxn modelId="{022226D3-9A07-4B44-9871-BE43880469CA}" srcId="{70E259BE-FD81-44F8-8AD8-696122467FE8}" destId="{D49F27BA-C7D4-47F5-A566-6558CB160CCE}" srcOrd="0" destOrd="0" parTransId="{DFF52EEB-FE15-4438-9ABF-8177F955BE98}" sibTransId="{6C7F23EE-527F-445D-A03B-C095553F5BFB}"/>
    <dgm:cxn modelId="{532FA1DE-BE60-4483-B23D-5355D2F89E42}" type="presOf" srcId="{D04FF620-4B41-4CAA-8929-514DCBD2266E}" destId="{FF591285-8ECD-4413-A53B-011294184BA2}" srcOrd="1" destOrd="0" presId="urn:microsoft.com/office/officeart/2005/8/layout/hList9#1"/>
    <dgm:cxn modelId="{5F4B59F0-2177-4A10-929B-B53220FF4221}" srcId="{A8D79439-D5EC-4A2C-8886-3366D5388AE4}" destId="{3551B63F-97E5-4C25-8E48-EA3324E4693A}" srcOrd="0" destOrd="0" parTransId="{D45CBEB4-CA5A-42B2-A8B1-A227C3D51854}" sibTransId="{2A745622-EF74-41CE-8640-57C9EC089F05}"/>
    <dgm:cxn modelId="{A58ED59B-2C92-41EF-8332-85F0952E8523}" type="presParOf" srcId="{73F0E6AA-1B12-4917-A5B9-27714EB21A6F}" destId="{9EB08046-B0A8-40D6-9F0C-C2EFDB819E01}" srcOrd="0" destOrd="0" presId="urn:microsoft.com/office/officeart/2005/8/layout/hList9#1"/>
    <dgm:cxn modelId="{91D1656F-C1FE-4C9D-82E7-8431D81ADF31}" type="presParOf" srcId="{73F0E6AA-1B12-4917-A5B9-27714EB21A6F}" destId="{771756F4-E425-4246-8438-12F2B4FD2670}" srcOrd="1" destOrd="0" presId="urn:microsoft.com/office/officeart/2005/8/layout/hList9#1"/>
    <dgm:cxn modelId="{16E69E40-CD60-48C1-A6E9-E5E60C39E06D}" type="presParOf" srcId="{771756F4-E425-4246-8438-12F2B4FD2670}" destId="{55853259-BBE5-4C45-95ED-7DCB7230171A}" srcOrd="0" destOrd="0" presId="urn:microsoft.com/office/officeart/2005/8/layout/hList9#1"/>
    <dgm:cxn modelId="{518F68C6-EE86-486A-8E6E-30D14690D173}" type="presParOf" srcId="{771756F4-E425-4246-8438-12F2B4FD2670}" destId="{8C960F9D-26EC-4627-9CF2-7B18C666CB35}" srcOrd="1" destOrd="0" presId="urn:microsoft.com/office/officeart/2005/8/layout/hList9#1"/>
    <dgm:cxn modelId="{84495E01-787E-4033-AC2F-5827D1AE4929}" type="presParOf" srcId="{8C960F9D-26EC-4627-9CF2-7B18C666CB35}" destId="{F8D49E38-B053-4501-BD89-EB8E5A6A61CD}" srcOrd="0" destOrd="0" presId="urn:microsoft.com/office/officeart/2005/8/layout/hList9#1"/>
    <dgm:cxn modelId="{D843CEED-0D41-4E01-83E6-0217B85AA0CB}" type="presParOf" srcId="{8C960F9D-26EC-4627-9CF2-7B18C666CB35}" destId="{28FDBCD3-F61A-450D-892D-E8EA240C3445}" srcOrd="1" destOrd="0" presId="urn:microsoft.com/office/officeart/2005/8/layout/hList9#1"/>
    <dgm:cxn modelId="{FC65DA6A-0F98-483E-BBAC-73D50AE0F937}" type="presParOf" srcId="{771756F4-E425-4246-8438-12F2B4FD2670}" destId="{36B998BC-CC63-4AE7-B372-7EA6115622C7}" srcOrd="2" destOrd="0" presId="urn:microsoft.com/office/officeart/2005/8/layout/hList9#1"/>
    <dgm:cxn modelId="{549472A3-8429-4372-8D9F-443B3D84C111}" type="presParOf" srcId="{36B998BC-CC63-4AE7-B372-7EA6115622C7}" destId="{01119332-89A2-4784-81C1-FF89BAFEA3B2}" srcOrd="0" destOrd="0" presId="urn:microsoft.com/office/officeart/2005/8/layout/hList9#1"/>
    <dgm:cxn modelId="{07FC7C17-1E01-44B6-96A6-9A2AA20331F8}" type="presParOf" srcId="{36B998BC-CC63-4AE7-B372-7EA6115622C7}" destId="{EB91C378-F5E2-4623-A32D-0429BACB9378}" srcOrd="1" destOrd="0" presId="urn:microsoft.com/office/officeart/2005/8/layout/hList9#1"/>
    <dgm:cxn modelId="{6143AB35-945A-4E25-B7A7-43CBA81CA32C}" type="presParOf" srcId="{73F0E6AA-1B12-4917-A5B9-27714EB21A6F}" destId="{E16CB8C9-D1FB-4FF3-8667-AEACA8E83E5C}" srcOrd="2" destOrd="0" presId="urn:microsoft.com/office/officeart/2005/8/layout/hList9#1"/>
    <dgm:cxn modelId="{AFF39EFE-BBB2-48F5-8A5D-D2AF5AEEA690}" type="presParOf" srcId="{73F0E6AA-1B12-4917-A5B9-27714EB21A6F}" destId="{92447B8B-B043-4F04-A3B7-D0DE831D4431}" srcOrd="3" destOrd="0" presId="urn:microsoft.com/office/officeart/2005/8/layout/hList9#1"/>
    <dgm:cxn modelId="{9175D916-0009-49B4-9E0E-2860B1A1AA42}" type="presParOf" srcId="{73F0E6AA-1B12-4917-A5B9-27714EB21A6F}" destId="{86EC9F84-227C-4E06-9DF9-580577FF07E6}" srcOrd="4" destOrd="0" presId="urn:microsoft.com/office/officeart/2005/8/layout/hList9#1"/>
    <dgm:cxn modelId="{B2BE31B8-2E3E-4715-84CA-7C0E337198B0}" type="presParOf" srcId="{73F0E6AA-1B12-4917-A5B9-27714EB21A6F}" destId="{18930822-DE8A-4ABA-986D-CE814670A45E}" srcOrd="5" destOrd="0" presId="urn:microsoft.com/office/officeart/2005/8/layout/hList9#1"/>
    <dgm:cxn modelId="{4B3A1E0E-F283-47F0-A158-3637D7B728BB}" type="presParOf" srcId="{73F0E6AA-1B12-4917-A5B9-27714EB21A6F}" destId="{0A15879E-9902-4979-B022-1C436A8138BA}" srcOrd="6" destOrd="0" presId="urn:microsoft.com/office/officeart/2005/8/layout/hList9#1"/>
    <dgm:cxn modelId="{97368FAD-9551-4710-A46F-13D2C0D34D4F}" type="presParOf" srcId="{0A15879E-9902-4979-B022-1C436A8138BA}" destId="{B212BFCE-AFC4-4470-9DE6-F92A458943E5}" srcOrd="0" destOrd="0" presId="urn:microsoft.com/office/officeart/2005/8/layout/hList9#1"/>
    <dgm:cxn modelId="{5C35ECE4-BFE4-45C9-AB57-FEF5B9769822}" type="presParOf" srcId="{0A15879E-9902-4979-B022-1C436A8138BA}" destId="{9C59777D-1DF0-421E-9582-AB045FE3CF8B}" srcOrd="1" destOrd="0" presId="urn:microsoft.com/office/officeart/2005/8/layout/hList9#1"/>
    <dgm:cxn modelId="{FFA5FEB0-DFB3-4640-BAC7-1232469F5528}" type="presParOf" srcId="{9C59777D-1DF0-421E-9582-AB045FE3CF8B}" destId="{B4EA86C9-9645-41DF-AB1C-E026D8E8F43F}" srcOrd="0" destOrd="0" presId="urn:microsoft.com/office/officeart/2005/8/layout/hList9#1"/>
    <dgm:cxn modelId="{26454346-B050-44BC-9CF4-4A077A7CDA5B}" type="presParOf" srcId="{9C59777D-1DF0-421E-9582-AB045FE3CF8B}" destId="{FFBACF87-1AED-4FB0-90AE-33D277960054}" srcOrd="1" destOrd="0" presId="urn:microsoft.com/office/officeart/2005/8/layout/hList9#1"/>
    <dgm:cxn modelId="{B9E75E9E-29D1-45C8-AA89-41E7C6C1BA0E}" type="presParOf" srcId="{0A15879E-9902-4979-B022-1C436A8138BA}" destId="{CBE40A5F-D0EC-4B4A-A524-5B4A3F2C8285}" srcOrd="2" destOrd="0" presId="urn:microsoft.com/office/officeart/2005/8/layout/hList9#1"/>
    <dgm:cxn modelId="{0DF96993-F2F8-4D51-B6D3-00363066FEB3}" type="presParOf" srcId="{CBE40A5F-D0EC-4B4A-A524-5B4A3F2C8285}" destId="{9C36922A-5FA7-4B49-8BAB-B4B99DE5740F}" srcOrd="0" destOrd="0" presId="urn:microsoft.com/office/officeart/2005/8/layout/hList9#1"/>
    <dgm:cxn modelId="{38ED5CCE-882F-4E26-894C-4C7F6CDF3412}" type="presParOf" srcId="{CBE40A5F-D0EC-4B4A-A524-5B4A3F2C8285}" destId="{FF591285-8ECD-4413-A53B-011294184BA2}" srcOrd="1" destOrd="0" presId="urn:microsoft.com/office/officeart/2005/8/layout/hList9#1"/>
    <dgm:cxn modelId="{FC285CE9-FAC5-4506-85CC-F3670313A60C}" type="presParOf" srcId="{73F0E6AA-1B12-4917-A5B9-27714EB21A6F}" destId="{F8B169DC-C365-4F65-9BF5-245F62A807F7}" srcOrd="7" destOrd="0" presId="urn:microsoft.com/office/officeart/2005/8/layout/hList9#1"/>
    <dgm:cxn modelId="{DCCE0642-9641-458D-A6CE-C42A260CE6BB}" type="presParOf" srcId="{73F0E6AA-1B12-4917-A5B9-27714EB21A6F}" destId="{789C2E5F-53BE-4B9F-8B8F-155498EB6E4B}" srcOrd="8" destOrd="0" presId="urn:microsoft.com/office/officeart/2005/8/layout/hList9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D2A7BF6-C5C4-4205-9124-9156D5A0FF62}" type="doc">
      <dgm:prSet loTypeId="urn:microsoft.com/office/officeart/2005/8/layout/chart3#1" loCatId="relationship" qsTypeId="urn:microsoft.com/office/officeart/2005/8/quickstyle/simple1#2" qsCatId="simple" csTypeId="urn:microsoft.com/office/officeart/2005/8/colors/colorful2#2" csCatId="accent1" phldr="0"/>
      <dgm:spPr/>
    </dgm:pt>
    <dgm:pt modelId="{65F48770-481A-4163-AFC7-D503548ED498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dirty="0">
              <a:sym typeface="+mn-ea"/>
            </a:rPr>
            <a:t>人脸识别与作弊检测模块</a:t>
          </a:r>
          <a:endParaRPr lang="zh-CN" altLang="en-US"/>
        </a:p>
      </dgm:t>
    </dgm:pt>
    <dgm:pt modelId="{B0F50286-39B7-44BA-B5D7-218AF3B2E4E5}" type="parTrans" cxnId="{10D2D3B6-6694-4E0D-922B-9F16E26CE49C}">
      <dgm:prSet/>
      <dgm:spPr/>
    </dgm:pt>
    <dgm:pt modelId="{1EAF902D-B9E5-4236-8885-C26B25E2D413}" type="sibTrans" cxnId="{10D2D3B6-6694-4E0D-922B-9F16E26CE49C}">
      <dgm:prSet/>
      <dgm:spPr/>
    </dgm:pt>
    <dgm:pt modelId="{00A6F412-42FC-4BC9-88BF-4A41658FD7CA}">
      <dgm:prSet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>
              <a:sym typeface="+mn-ea"/>
            </a:rPr>
            <a:t>在</a:t>
          </a:r>
          <a:r>
            <a:rPr dirty="0">
              <a:sym typeface="+mn-ea"/>
            </a:rPr>
            <a:t>线答题与判题模块</a:t>
          </a:r>
          <a:endParaRPr dirty="0"/>
        </a:p>
      </dgm:t>
    </dgm:pt>
    <dgm:pt modelId="{8CFE99D2-A444-4306-AB70-242F50CE7CDE}" type="parTrans" cxnId="{C735116F-373B-438A-880A-9878D53411B9}">
      <dgm:prSet/>
      <dgm:spPr/>
    </dgm:pt>
    <dgm:pt modelId="{2A33F9D1-C9D9-45BC-9C01-6F9281AE13F1}" type="sibTrans" cxnId="{C735116F-373B-438A-880A-9878D53411B9}">
      <dgm:prSet/>
      <dgm:spPr/>
    </dgm:pt>
    <dgm:pt modelId="{9A981A66-95F8-44F0-ACAE-75A6B1236A31}">
      <dgm:prSet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>
              <a:sym typeface="+mn-ea"/>
            </a:rPr>
            <a:t>题</a:t>
          </a:r>
          <a:r>
            <a:rPr dirty="0">
              <a:sym typeface="+mn-ea"/>
            </a:rPr>
            <a:t>目发布与测试案例管理编辑模块</a:t>
          </a:r>
          <a:endParaRPr dirty="0"/>
        </a:p>
      </dgm:t>
    </dgm:pt>
    <dgm:pt modelId="{A44DD878-E4FA-45A0-B2EB-E65B842C9C61}" type="parTrans" cxnId="{A0DCD8A2-E081-4106-A33D-8E2516F89885}">
      <dgm:prSet/>
      <dgm:spPr/>
    </dgm:pt>
    <dgm:pt modelId="{20C57B1B-CB51-476F-9923-2461532CD340}" type="sibTrans" cxnId="{A0DCD8A2-E081-4106-A33D-8E2516F89885}">
      <dgm:prSet/>
      <dgm:spPr/>
    </dgm:pt>
    <dgm:pt modelId="{8FC2087B-DBAB-4B99-92CD-E346FD81DB06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dirty="0">
              <a:sym typeface="+mn-ea"/>
            </a:rPr>
            <a:t>成绩分析与推荐系统模块</a:t>
          </a:r>
          <a:endParaRPr lang="zh-CN" altLang="en-US"/>
        </a:p>
      </dgm:t>
    </dgm:pt>
    <dgm:pt modelId="{7BA47608-A888-42CD-AE60-06756AF5F262}" type="parTrans" cxnId="{C49AC969-1A86-4BFF-A9C8-EDEA4ECE4535}">
      <dgm:prSet/>
      <dgm:spPr/>
    </dgm:pt>
    <dgm:pt modelId="{D4AA31C8-39A3-42E7-885F-549031C4BE38}" type="sibTrans" cxnId="{C49AC969-1A86-4BFF-A9C8-EDEA4ECE4535}">
      <dgm:prSet/>
      <dgm:spPr/>
    </dgm:pt>
    <dgm:pt modelId="{9DD32921-4C93-4755-8DBC-C93D5A9C26AA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dirty="0">
              <a:sym typeface="+mn-ea"/>
            </a:rPr>
            <a:t>教师与课程管理模块</a:t>
          </a:r>
          <a:endParaRPr lang="zh-CN" altLang="en-US"/>
        </a:p>
      </dgm:t>
    </dgm:pt>
    <dgm:pt modelId="{E7BC373D-5454-4F08-B23A-12FA48E32AB9}" type="parTrans" cxnId="{3CCBC628-3325-4FFA-9CB2-BCB0CF8687C9}">
      <dgm:prSet/>
      <dgm:spPr/>
    </dgm:pt>
    <dgm:pt modelId="{7C979ACF-5070-4EAA-8EBC-4F3FA84673AE}" type="sibTrans" cxnId="{3CCBC628-3325-4FFA-9CB2-BCB0CF8687C9}">
      <dgm:prSet/>
      <dgm:spPr/>
    </dgm:pt>
    <dgm:pt modelId="{389ABB26-7898-463D-9239-33CEB89F6AF7}" type="pres">
      <dgm:prSet presAssocID="{7D2A7BF6-C5C4-4205-9124-9156D5A0FF62}" presName="compositeShape" presStyleCnt="0">
        <dgm:presLayoutVars>
          <dgm:chMax val="7"/>
          <dgm:dir/>
          <dgm:resizeHandles val="exact"/>
        </dgm:presLayoutVars>
      </dgm:prSet>
      <dgm:spPr/>
    </dgm:pt>
    <dgm:pt modelId="{9D0F1FAC-E2B7-47D9-AF9E-8567148D7A1D}" type="pres">
      <dgm:prSet presAssocID="{7D2A7BF6-C5C4-4205-9124-9156D5A0FF62}" presName="wedge1" presStyleLbl="node1" presStyleIdx="0" presStyleCnt="5"/>
      <dgm:spPr/>
    </dgm:pt>
    <dgm:pt modelId="{170B9FDA-8349-46CB-AD74-A643C221A342}" type="pres">
      <dgm:prSet presAssocID="{7D2A7BF6-C5C4-4205-9124-9156D5A0FF62}" presName="wedge1Tx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E39900BC-8280-4B85-BA2D-D2EC42E5E3C8}" type="pres">
      <dgm:prSet presAssocID="{7D2A7BF6-C5C4-4205-9124-9156D5A0FF62}" presName="wedge2" presStyleLbl="node1" presStyleIdx="1" presStyleCnt="5"/>
      <dgm:spPr/>
    </dgm:pt>
    <dgm:pt modelId="{D228BC7F-53A7-491C-8EEB-093E1438ECD9}" type="pres">
      <dgm:prSet presAssocID="{7D2A7BF6-C5C4-4205-9124-9156D5A0FF62}" presName="wedge2Tx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5CA0BC8A-FE97-4043-AD4F-D6CB2A4406DC}" type="pres">
      <dgm:prSet presAssocID="{7D2A7BF6-C5C4-4205-9124-9156D5A0FF62}" presName="wedge3" presStyleLbl="node1" presStyleIdx="2" presStyleCnt="5"/>
      <dgm:spPr/>
    </dgm:pt>
    <dgm:pt modelId="{B8E19202-8549-46AE-8EC0-72F2657E12EA}" type="pres">
      <dgm:prSet presAssocID="{7D2A7BF6-C5C4-4205-9124-9156D5A0FF62}" presName="wedge3Tx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7D6786C3-9C0E-4C85-A7F6-38539CFFC93A}" type="pres">
      <dgm:prSet presAssocID="{7D2A7BF6-C5C4-4205-9124-9156D5A0FF62}" presName="wedge4" presStyleLbl="node1" presStyleIdx="3" presStyleCnt="5"/>
      <dgm:spPr/>
    </dgm:pt>
    <dgm:pt modelId="{1574ACF5-0B2A-4DC6-AB79-5241B1B32097}" type="pres">
      <dgm:prSet presAssocID="{7D2A7BF6-C5C4-4205-9124-9156D5A0FF62}" presName="wedge4Tx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F8A23202-715E-4760-88A7-5EFF19B0F523}" type="pres">
      <dgm:prSet presAssocID="{7D2A7BF6-C5C4-4205-9124-9156D5A0FF62}" presName="wedge5" presStyleLbl="node1" presStyleIdx="4" presStyleCnt="5"/>
      <dgm:spPr/>
    </dgm:pt>
    <dgm:pt modelId="{EC90FAEF-C5B0-467F-9A24-DD25E6EA9319}" type="pres">
      <dgm:prSet presAssocID="{7D2A7BF6-C5C4-4205-9124-9156D5A0FF62}" presName="wedge5Tx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7525CD22-C1A9-4226-98E0-95F88882330E}" type="presOf" srcId="{9DD32921-4C93-4755-8DBC-C93D5A9C26AA}" destId="{F8A23202-715E-4760-88A7-5EFF19B0F523}" srcOrd="0" destOrd="0" presId="urn:microsoft.com/office/officeart/2005/8/layout/chart3#1"/>
    <dgm:cxn modelId="{3CCBC628-3325-4FFA-9CB2-BCB0CF8687C9}" srcId="{7D2A7BF6-C5C4-4205-9124-9156D5A0FF62}" destId="{9DD32921-4C93-4755-8DBC-C93D5A9C26AA}" srcOrd="4" destOrd="0" parTransId="{E7BC373D-5454-4F08-B23A-12FA48E32AB9}" sibTransId="{7C979ACF-5070-4EAA-8EBC-4F3FA84673AE}"/>
    <dgm:cxn modelId="{D31FD237-660D-49BB-AF8D-5BA9B4DB9FC4}" type="presOf" srcId="{65F48770-481A-4163-AFC7-D503548ED498}" destId="{170B9FDA-8349-46CB-AD74-A643C221A342}" srcOrd="1" destOrd="0" presId="urn:microsoft.com/office/officeart/2005/8/layout/chart3#1"/>
    <dgm:cxn modelId="{17119564-46C8-4E40-AF2C-1D87E8BEC7CA}" type="presOf" srcId="{65F48770-481A-4163-AFC7-D503548ED498}" destId="{9D0F1FAC-E2B7-47D9-AF9E-8567148D7A1D}" srcOrd="0" destOrd="0" presId="urn:microsoft.com/office/officeart/2005/8/layout/chart3#1"/>
    <dgm:cxn modelId="{C49AC969-1A86-4BFF-A9C8-EDEA4ECE4535}" srcId="{7D2A7BF6-C5C4-4205-9124-9156D5A0FF62}" destId="{8FC2087B-DBAB-4B99-92CD-E346FD81DB06}" srcOrd="3" destOrd="0" parTransId="{7BA47608-A888-42CD-AE60-06756AF5F262}" sibTransId="{D4AA31C8-39A3-42E7-885F-549031C4BE38}"/>
    <dgm:cxn modelId="{C735116F-373B-438A-880A-9878D53411B9}" srcId="{7D2A7BF6-C5C4-4205-9124-9156D5A0FF62}" destId="{00A6F412-42FC-4BC9-88BF-4A41658FD7CA}" srcOrd="1" destOrd="0" parTransId="{8CFE99D2-A444-4306-AB70-242F50CE7CDE}" sibTransId="{2A33F9D1-C9D9-45BC-9C01-6F9281AE13F1}"/>
    <dgm:cxn modelId="{B4F34082-1FA4-4045-8E5A-802A3D75F43D}" type="presOf" srcId="{9DD32921-4C93-4755-8DBC-C93D5A9C26AA}" destId="{EC90FAEF-C5B0-467F-9A24-DD25E6EA9319}" srcOrd="1" destOrd="0" presId="urn:microsoft.com/office/officeart/2005/8/layout/chart3#1"/>
    <dgm:cxn modelId="{A0DCD8A2-E081-4106-A33D-8E2516F89885}" srcId="{7D2A7BF6-C5C4-4205-9124-9156D5A0FF62}" destId="{9A981A66-95F8-44F0-ACAE-75A6B1236A31}" srcOrd="2" destOrd="0" parTransId="{A44DD878-E4FA-45A0-B2EB-E65B842C9C61}" sibTransId="{20C57B1B-CB51-476F-9923-2461532CD340}"/>
    <dgm:cxn modelId="{15CC36A4-0D5A-47F3-8913-23548D9B16C4}" type="presOf" srcId="{9A981A66-95F8-44F0-ACAE-75A6B1236A31}" destId="{B8E19202-8549-46AE-8EC0-72F2657E12EA}" srcOrd="1" destOrd="0" presId="urn:microsoft.com/office/officeart/2005/8/layout/chart3#1"/>
    <dgm:cxn modelId="{A286D4A6-138E-4B5F-8959-705841751A2F}" type="presOf" srcId="{7D2A7BF6-C5C4-4205-9124-9156D5A0FF62}" destId="{389ABB26-7898-463D-9239-33CEB89F6AF7}" srcOrd="0" destOrd="0" presId="urn:microsoft.com/office/officeart/2005/8/layout/chart3#1"/>
    <dgm:cxn modelId="{ABF0E4A8-C26E-4387-B803-B28062B3CF32}" type="presOf" srcId="{8FC2087B-DBAB-4B99-92CD-E346FD81DB06}" destId="{1574ACF5-0B2A-4DC6-AB79-5241B1B32097}" srcOrd="1" destOrd="0" presId="urn:microsoft.com/office/officeart/2005/8/layout/chart3#1"/>
    <dgm:cxn modelId="{10D2D3B6-6694-4E0D-922B-9F16E26CE49C}" srcId="{7D2A7BF6-C5C4-4205-9124-9156D5A0FF62}" destId="{65F48770-481A-4163-AFC7-D503548ED498}" srcOrd="0" destOrd="0" parTransId="{B0F50286-39B7-44BA-B5D7-218AF3B2E4E5}" sibTransId="{1EAF902D-B9E5-4236-8885-C26B25E2D413}"/>
    <dgm:cxn modelId="{6AA3F0B7-7482-4785-B3EF-479EE25440F7}" type="presOf" srcId="{00A6F412-42FC-4BC9-88BF-4A41658FD7CA}" destId="{E39900BC-8280-4B85-BA2D-D2EC42E5E3C8}" srcOrd="0" destOrd="0" presId="urn:microsoft.com/office/officeart/2005/8/layout/chart3#1"/>
    <dgm:cxn modelId="{701265B8-4DEC-40FB-9FE5-4916EC89B5F8}" type="presOf" srcId="{00A6F412-42FC-4BC9-88BF-4A41658FD7CA}" destId="{D228BC7F-53A7-491C-8EEB-093E1438ECD9}" srcOrd="1" destOrd="0" presId="urn:microsoft.com/office/officeart/2005/8/layout/chart3#1"/>
    <dgm:cxn modelId="{D361D0E9-704E-40D8-BB76-304ECCCE2AA5}" type="presOf" srcId="{9A981A66-95F8-44F0-ACAE-75A6B1236A31}" destId="{5CA0BC8A-FE97-4043-AD4F-D6CB2A4406DC}" srcOrd="0" destOrd="0" presId="urn:microsoft.com/office/officeart/2005/8/layout/chart3#1"/>
    <dgm:cxn modelId="{E8CBF5F6-DAFC-459C-952B-9B39C366A483}" type="presOf" srcId="{8FC2087B-DBAB-4B99-92CD-E346FD81DB06}" destId="{7D6786C3-9C0E-4C85-A7F6-38539CFFC93A}" srcOrd="0" destOrd="0" presId="urn:microsoft.com/office/officeart/2005/8/layout/chart3#1"/>
    <dgm:cxn modelId="{2B34B034-129C-4A6D-8610-70247CE507E9}" type="presParOf" srcId="{389ABB26-7898-463D-9239-33CEB89F6AF7}" destId="{9D0F1FAC-E2B7-47D9-AF9E-8567148D7A1D}" srcOrd="0" destOrd="0" presId="urn:microsoft.com/office/officeart/2005/8/layout/chart3#1"/>
    <dgm:cxn modelId="{9EB64706-8E2E-4F79-8D2B-7381708CDD86}" type="presParOf" srcId="{389ABB26-7898-463D-9239-33CEB89F6AF7}" destId="{170B9FDA-8349-46CB-AD74-A643C221A342}" srcOrd="1" destOrd="0" presId="urn:microsoft.com/office/officeart/2005/8/layout/chart3#1"/>
    <dgm:cxn modelId="{D04252B6-E34A-4A10-B7DE-5A4BAC61312C}" type="presParOf" srcId="{389ABB26-7898-463D-9239-33CEB89F6AF7}" destId="{E39900BC-8280-4B85-BA2D-D2EC42E5E3C8}" srcOrd="2" destOrd="0" presId="urn:microsoft.com/office/officeart/2005/8/layout/chart3#1"/>
    <dgm:cxn modelId="{1C1CF5B3-919B-41D8-A176-AFF54D7EDAB3}" type="presParOf" srcId="{389ABB26-7898-463D-9239-33CEB89F6AF7}" destId="{D228BC7F-53A7-491C-8EEB-093E1438ECD9}" srcOrd="3" destOrd="0" presId="urn:microsoft.com/office/officeart/2005/8/layout/chart3#1"/>
    <dgm:cxn modelId="{547F8639-2B4B-4924-B1DD-6FD9F74FE906}" type="presParOf" srcId="{389ABB26-7898-463D-9239-33CEB89F6AF7}" destId="{5CA0BC8A-FE97-4043-AD4F-D6CB2A4406DC}" srcOrd="4" destOrd="0" presId="urn:microsoft.com/office/officeart/2005/8/layout/chart3#1"/>
    <dgm:cxn modelId="{4C11167D-9A71-44F0-945F-A6EC54F09984}" type="presParOf" srcId="{389ABB26-7898-463D-9239-33CEB89F6AF7}" destId="{B8E19202-8549-46AE-8EC0-72F2657E12EA}" srcOrd="5" destOrd="0" presId="urn:microsoft.com/office/officeart/2005/8/layout/chart3#1"/>
    <dgm:cxn modelId="{2DAE11FB-08DA-4677-A7CE-414A1CBF175E}" type="presParOf" srcId="{389ABB26-7898-463D-9239-33CEB89F6AF7}" destId="{7D6786C3-9C0E-4C85-A7F6-38539CFFC93A}" srcOrd="6" destOrd="0" presId="urn:microsoft.com/office/officeart/2005/8/layout/chart3#1"/>
    <dgm:cxn modelId="{DFFA0F50-3F78-48D8-B52C-01A74DC578D4}" type="presParOf" srcId="{389ABB26-7898-463D-9239-33CEB89F6AF7}" destId="{1574ACF5-0B2A-4DC6-AB79-5241B1B32097}" srcOrd="7" destOrd="0" presId="urn:microsoft.com/office/officeart/2005/8/layout/chart3#1"/>
    <dgm:cxn modelId="{3A8A8770-F90D-433E-9BB5-F9C176D3E3D9}" type="presParOf" srcId="{389ABB26-7898-463D-9239-33CEB89F6AF7}" destId="{F8A23202-715E-4760-88A7-5EFF19B0F523}" srcOrd="8" destOrd="0" presId="urn:microsoft.com/office/officeart/2005/8/layout/chart3#1"/>
    <dgm:cxn modelId="{075A2D5C-C384-49DB-B8C2-B7BCDDAADB5F}" type="presParOf" srcId="{389ABB26-7898-463D-9239-33CEB89F6AF7}" destId="{EC90FAEF-C5B0-467F-9A24-DD25E6EA9319}" srcOrd="9" destOrd="0" presId="urn:microsoft.com/office/officeart/2005/8/layout/chart3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B0B7038-E59F-4A80-A75E-7AA9F300D739}" type="doc">
      <dgm:prSet loTypeId="urn:microsoft.com/office/officeart/2005/8/layout/StepDownProcess#1" loCatId="process" qsTypeId="urn:microsoft.com/office/officeart/2005/8/quickstyle/simple5#1" qsCatId="simple" csTypeId="urn:microsoft.com/office/officeart/2005/8/colors/colorful1#1" csCatId="accent1" phldr="1"/>
      <dgm:spPr/>
      <dgm:t>
        <a:bodyPr/>
        <a:lstStyle/>
        <a:p>
          <a:endParaRPr lang="zh-CN" altLang="en-US"/>
        </a:p>
      </dgm:t>
    </dgm:pt>
    <dgm:pt modelId="{E9FF6F63-DE8B-49AE-AD60-255A714A296C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/>
            <a:t>进入题目页面</a:t>
          </a:r>
        </a:p>
      </dgm:t>
    </dgm:pt>
    <dgm:pt modelId="{E2F25AF7-B1AC-494B-B2C1-7761C2AD5D10}" type="parTrans" cxnId="{5D5FC6C7-B92A-4E31-A38C-07F13883629B}">
      <dgm:prSet/>
      <dgm:spPr/>
      <dgm:t>
        <a:bodyPr/>
        <a:lstStyle/>
        <a:p>
          <a:endParaRPr lang="zh-CN" altLang="en-US"/>
        </a:p>
      </dgm:t>
    </dgm:pt>
    <dgm:pt modelId="{7C3A5ED0-3AE2-4C34-80A5-AFDCC3D00C7D}" type="sibTrans" cxnId="{5D5FC6C7-B92A-4E31-A38C-07F13883629B}">
      <dgm:prSet/>
      <dgm:spPr/>
      <dgm:t>
        <a:bodyPr/>
        <a:lstStyle/>
        <a:p>
          <a:endParaRPr lang="zh-CN" altLang="en-US"/>
        </a:p>
      </dgm:t>
    </dgm:pt>
    <dgm:pt modelId="{4D3602F6-4A56-471E-94CA-95C297AF4D0A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/>
            <a:t>请求摄像头权限</a:t>
          </a:r>
        </a:p>
      </dgm:t>
    </dgm:pt>
    <dgm:pt modelId="{511DB170-6BB5-4ADD-8085-548C5A4D75BB}" type="parTrans" cxnId="{9C8F5FF9-C968-4D6D-BD26-21E269E3682D}">
      <dgm:prSet/>
      <dgm:spPr/>
      <dgm:t>
        <a:bodyPr/>
        <a:lstStyle/>
        <a:p>
          <a:endParaRPr lang="zh-CN" altLang="en-US"/>
        </a:p>
      </dgm:t>
    </dgm:pt>
    <dgm:pt modelId="{44F1BF6E-18A0-4182-BD68-FA72641FED89}" type="sibTrans" cxnId="{9C8F5FF9-C968-4D6D-BD26-21E269E3682D}">
      <dgm:prSet/>
      <dgm:spPr/>
      <dgm:t>
        <a:bodyPr/>
        <a:lstStyle/>
        <a:p>
          <a:endParaRPr lang="zh-CN" altLang="en-US"/>
        </a:p>
      </dgm:t>
    </dgm:pt>
    <dgm:pt modelId="{5137751A-6B92-4416-913C-FAEC6CB5829E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15000"/>
            </a:spcAft>
          </a:pPr>
          <a:r>
            <a:rPr lang="zh-CN" altLang="en-US"/>
            <a:t>若用户拒绝则不予显示题目</a:t>
          </a:r>
        </a:p>
      </dgm:t>
    </dgm:pt>
    <dgm:pt modelId="{059D19CA-05CD-47BD-8E16-408EC613C9A8}" type="parTrans" cxnId="{64D41BE6-A635-4583-9F88-AF8747A3653E}">
      <dgm:prSet/>
      <dgm:spPr/>
      <dgm:t>
        <a:bodyPr/>
        <a:lstStyle/>
        <a:p>
          <a:endParaRPr lang="zh-CN" altLang="en-US"/>
        </a:p>
      </dgm:t>
    </dgm:pt>
    <dgm:pt modelId="{3D0CFC71-DD02-4AEE-931E-800CBFD442DE}" type="sibTrans" cxnId="{64D41BE6-A635-4583-9F88-AF8747A3653E}">
      <dgm:prSet/>
      <dgm:spPr/>
      <dgm:t>
        <a:bodyPr/>
        <a:lstStyle/>
        <a:p>
          <a:endParaRPr lang="zh-CN" altLang="en-US"/>
        </a:p>
      </dgm:t>
    </dgm:pt>
    <dgm:pt modelId="{C77B2DE7-72B5-4696-8020-E9D212156430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/>
            <a:t>显示题目信息</a:t>
          </a:r>
        </a:p>
      </dgm:t>
    </dgm:pt>
    <dgm:pt modelId="{CFDAE099-E9CA-400D-9E0B-5FF2A223D856}" type="parTrans" cxnId="{6AA2A721-48C1-43D7-8C1E-DDB4D504CE3E}">
      <dgm:prSet/>
      <dgm:spPr/>
      <dgm:t>
        <a:bodyPr/>
        <a:lstStyle/>
        <a:p>
          <a:endParaRPr lang="zh-CN" altLang="en-US"/>
        </a:p>
      </dgm:t>
    </dgm:pt>
    <dgm:pt modelId="{00E0D5AB-294E-4D02-9E82-5E730EC20037}" type="sibTrans" cxnId="{6AA2A721-48C1-43D7-8C1E-DDB4D504CE3E}">
      <dgm:prSet/>
      <dgm:spPr/>
      <dgm:t>
        <a:bodyPr/>
        <a:lstStyle/>
        <a:p>
          <a:endParaRPr lang="zh-CN" altLang="en-US"/>
        </a:p>
      </dgm:t>
    </dgm:pt>
    <dgm:pt modelId="{2C6AD28F-A1D9-42FD-8523-B2CDE1C853BE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15000"/>
            </a:spcAft>
          </a:pPr>
          <a:r>
            <a:rPr lang="zh-CN" altLang="en-US">
              <a:sym typeface="+mn-ea"/>
            </a:rPr>
            <a:t>每隔1分钟对用户抓拍一次</a:t>
          </a:r>
          <a:endParaRPr lang="zh-CN" altLang="en-US"/>
        </a:p>
      </dgm:t>
    </dgm:pt>
    <dgm:pt modelId="{C2130940-6177-476C-8D94-9A73013EDAE3}" type="parTrans" cxnId="{C72CE307-93EE-4244-A77E-93DB76E7C6EE}">
      <dgm:prSet/>
      <dgm:spPr/>
      <dgm:t>
        <a:bodyPr/>
        <a:lstStyle/>
        <a:p>
          <a:endParaRPr lang="zh-CN" altLang="en-US"/>
        </a:p>
      </dgm:t>
    </dgm:pt>
    <dgm:pt modelId="{03815DB2-473C-47DE-A096-BBAC8434EAE7}" type="sibTrans" cxnId="{C72CE307-93EE-4244-A77E-93DB76E7C6EE}">
      <dgm:prSet/>
      <dgm:spPr/>
      <dgm:t>
        <a:bodyPr/>
        <a:lstStyle/>
        <a:p>
          <a:endParaRPr lang="zh-CN" altLang="en-US"/>
        </a:p>
      </dgm:t>
    </dgm:pt>
    <dgm:pt modelId="{E8FCE072-2732-44C4-B646-A8A9D1E93FCF}">
      <dgm:prSet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>
              <a:sym typeface="+mn-ea"/>
            </a:rPr>
            <a:t>服</a:t>
          </a:r>
          <a:r>
            <a:rPr lang="zh-CN" altLang="en-US">
              <a:sym typeface="+mn-ea"/>
            </a:rPr>
            <a:t>务器比对判断</a:t>
          </a:r>
        </a:p>
      </dgm:t>
    </dgm:pt>
    <dgm:pt modelId="{284ABB80-091C-4195-9466-02F6312FB52C}" type="parTrans" cxnId="{4446DB44-4015-4B7D-9BA6-9853100316B6}">
      <dgm:prSet/>
      <dgm:spPr/>
      <dgm:t>
        <a:bodyPr/>
        <a:lstStyle/>
        <a:p>
          <a:endParaRPr lang="zh-CN" altLang="en-US"/>
        </a:p>
      </dgm:t>
    </dgm:pt>
    <dgm:pt modelId="{C2112A3D-364B-4C38-8490-ADD6BA6FC837}" type="sibTrans" cxnId="{4446DB44-4015-4B7D-9BA6-9853100316B6}">
      <dgm:prSet/>
      <dgm:spPr/>
      <dgm:t>
        <a:bodyPr/>
        <a:lstStyle/>
        <a:p>
          <a:endParaRPr lang="zh-CN" altLang="en-US"/>
        </a:p>
      </dgm:t>
    </dgm:pt>
    <dgm:pt modelId="{4E8D2CA5-E8F3-41AD-B35D-1FCF8CAD3487}" type="pres">
      <dgm:prSet presAssocID="{FB0B7038-E59F-4A80-A75E-7AA9F300D739}" presName="rootnode" presStyleCnt="0">
        <dgm:presLayoutVars>
          <dgm:chMax/>
          <dgm:chPref/>
          <dgm:dir/>
          <dgm:animLvl val="lvl"/>
        </dgm:presLayoutVars>
      </dgm:prSet>
      <dgm:spPr/>
    </dgm:pt>
    <dgm:pt modelId="{4885D9FF-6621-4FC5-A9DE-327AB74500CD}" type="pres">
      <dgm:prSet presAssocID="{E9FF6F63-DE8B-49AE-AD60-255A714A296C}" presName="composite" presStyleCnt="0"/>
      <dgm:spPr/>
    </dgm:pt>
    <dgm:pt modelId="{C1069558-9A0D-4777-9B5C-1F8CC5A904D0}" type="pres">
      <dgm:prSet presAssocID="{E9FF6F63-DE8B-49AE-AD60-255A714A296C}" presName="bentUpArrow1" presStyleLbl="alignImgPlace1" presStyleIdx="0" presStyleCnt="3"/>
      <dgm:spPr/>
    </dgm:pt>
    <dgm:pt modelId="{B6B3DBAD-9628-4182-98C9-C3F56A96B563}" type="pres">
      <dgm:prSet presAssocID="{E9FF6F63-DE8B-49AE-AD60-255A714A296C}" presName="ParentText" presStyleLbl="node1" presStyleIdx="0" presStyleCnt="4">
        <dgm:presLayoutVars>
          <dgm:chMax val="1"/>
          <dgm:chPref val="1"/>
          <dgm:bulletEnabled val="1"/>
        </dgm:presLayoutVars>
      </dgm:prSet>
      <dgm:spPr/>
    </dgm:pt>
    <dgm:pt modelId="{CF563743-F0CD-43FF-8ED9-181590D5AEC7}" type="pres">
      <dgm:prSet presAssocID="{E9FF6F63-DE8B-49AE-AD60-255A714A296C}" presName="ChildText" presStyleLbl="revTx" presStyleIdx="0" presStyleCnt="3" custScaleX="110847" custScaleY="34342">
        <dgm:presLayoutVars>
          <dgm:chMax val="0"/>
          <dgm:chPref val="0"/>
          <dgm:bulletEnabled val="1"/>
        </dgm:presLayoutVars>
      </dgm:prSet>
      <dgm:spPr/>
    </dgm:pt>
    <dgm:pt modelId="{F1E93E89-BF11-425F-8AD8-57BDCD076633}" type="pres">
      <dgm:prSet presAssocID="{7C3A5ED0-3AE2-4C34-80A5-AFDCC3D00C7D}" presName="sibTrans" presStyleCnt="0"/>
      <dgm:spPr/>
    </dgm:pt>
    <dgm:pt modelId="{5D08F00E-1A1B-44FE-B733-AC1EDA64F34E}" type="pres">
      <dgm:prSet presAssocID="{4D3602F6-4A56-471E-94CA-95C297AF4D0A}" presName="composite" presStyleCnt="0"/>
      <dgm:spPr/>
    </dgm:pt>
    <dgm:pt modelId="{A3E57910-EB90-4850-9A4E-8662A513D003}" type="pres">
      <dgm:prSet presAssocID="{4D3602F6-4A56-471E-94CA-95C297AF4D0A}" presName="bentUpArrow1" presStyleLbl="alignImgPlace1" presStyleIdx="1" presStyleCnt="3"/>
      <dgm:spPr/>
    </dgm:pt>
    <dgm:pt modelId="{FAF4FC6F-67B2-4C23-BD82-FF5779C49F32}" type="pres">
      <dgm:prSet presAssocID="{4D3602F6-4A56-471E-94CA-95C297AF4D0A}" presName="ParentText" presStyleLbl="node1" presStyleIdx="1" presStyleCnt="4">
        <dgm:presLayoutVars>
          <dgm:chMax val="1"/>
          <dgm:chPref val="1"/>
          <dgm:bulletEnabled val="1"/>
        </dgm:presLayoutVars>
      </dgm:prSet>
      <dgm:spPr/>
    </dgm:pt>
    <dgm:pt modelId="{8F521252-50A6-4EA9-AC51-762FFBA643C9}" type="pres">
      <dgm:prSet presAssocID="{4D3602F6-4A56-471E-94CA-95C297AF4D0A}" presName="ChildText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B2014751-3328-490B-A771-AD3E49DD01DB}" type="pres">
      <dgm:prSet presAssocID="{44F1BF6E-18A0-4182-BD68-FA72641FED89}" presName="sibTrans" presStyleCnt="0"/>
      <dgm:spPr/>
    </dgm:pt>
    <dgm:pt modelId="{694786D1-918A-4EAD-89A6-0B79C452A099}" type="pres">
      <dgm:prSet presAssocID="{C77B2DE7-72B5-4696-8020-E9D212156430}" presName="composite" presStyleCnt="0"/>
      <dgm:spPr/>
    </dgm:pt>
    <dgm:pt modelId="{8D023A2E-F4BF-417B-8FBD-A24E71C9D682}" type="pres">
      <dgm:prSet presAssocID="{C77B2DE7-72B5-4696-8020-E9D212156430}" presName="bentUpArrow1" presStyleLbl="alignImgPlace1" presStyleIdx="2" presStyleCnt="3"/>
      <dgm:spPr/>
    </dgm:pt>
    <dgm:pt modelId="{54F8B79A-809C-4F22-B417-84B1257C574F}" type="pres">
      <dgm:prSet presAssocID="{C77B2DE7-72B5-4696-8020-E9D212156430}" presName="ParentText" presStyleLbl="node1" presStyleIdx="2" presStyleCnt="4">
        <dgm:presLayoutVars>
          <dgm:chMax val="1"/>
          <dgm:chPref val="1"/>
          <dgm:bulletEnabled val="1"/>
        </dgm:presLayoutVars>
      </dgm:prSet>
      <dgm:spPr/>
    </dgm:pt>
    <dgm:pt modelId="{912E4826-423C-48BC-95BF-E0A5B35D7C1F}" type="pres">
      <dgm:prSet presAssocID="{C77B2DE7-72B5-4696-8020-E9D212156430}" presName="ChildText" presStyleLbl="revTx" presStyleIdx="2" presStyleCnt="3">
        <dgm:presLayoutVars>
          <dgm:chMax val="0"/>
          <dgm:chPref val="0"/>
          <dgm:bulletEnabled val="1"/>
        </dgm:presLayoutVars>
      </dgm:prSet>
      <dgm:spPr/>
    </dgm:pt>
    <dgm:pt modelId="{B23B92FB-662C-406E-9FEF-9344B5035B67}" type="pres">
      <dgm:prSet presAssocID="{00E0D5AB-294E-4D02-9E82-5E730EC20037}" presName="sibTrans" presStyleCnt="0"/>
      <dgm:spPr/>
    </dgm:pt>
    <dgm:pt modelId="{61EB0D3E-9D25-49B3-8C0E-FD1B51AC77B3}" type="pres">
      <dgm:prSet presAssocID="{E8FCE072-2732-44C4-B646-A8A9D1E93FCF}" presName="composite" presStyleCnt="0"/>
      <dgm:spPr/>
    </dgm:pt>
    <dgm:pt modelId="{5EAEA632-1BDC-4E5C-99A7-1234A1492560}" type="pres">
      <dgm:prSet presAssocID="{E8FCE072-2732-44C4-B646-A8A9D1E93FCF}" presName="ParentText" presStyleLbl="node1" presStyleIdx="3" presStyleCnt="4">
        <dgm:presLayoutVars>
          <dgm:chMax val="1"/>
          <dgm:chPref val="1"/>
          <dgm:bulletEnabled val="1"/>
        </dgm:presLayoutVars>
      </dgm:prSet>
      <dgm:spPr/>
    </dgm:pt>
  </dgm:ptLst>
  <dgm:cxnLst>
    <dgm:cxn modelId="{C72CE307-93EE-4244-A77E-93DB76E7C6EE}" srcId="{C77B2DE7-72B5-4696-8020-E9D212156430}" destId="{2C6AD28F-A1D9-42FD-8523-B2CDE1C853BE}" srcOrd="0" destOrd="0" parTransId="{C2130940-6177-476C-8D94-9A73013EDAE3}" sibTransId="{03815DB2-473C-47DE-A096-BBAC8434EAE7}"/>
    <dgm:cxn modelId="{6AA2A721-48C1-43D7-8C1E-DDB4D504CE3E}" srcId="{FB0B7038-E59F-4A80-A75E-7AA9F300D739}" destId="{C77B2DE7-72B5-4696-8020-E9D212156430}" srcOrd="2" destOrd="0" parTransId="{CFDAE099-E9CA-400D-9E0B-5FF2A223D856}" sibTransId="{00E0D5AB-294E-4D02-9E82-5E730EC20037}"/>
    <dgm:cxn modelId="{4446DB44-4015-4B7D-9BA6-9853100316B6}" srcId="{FB0B7038-E59F-4A80-A75E-7AA9F300D739}" destId="{E8FCE072-2732-44C4-B646-A8A9D1E93FCF}" srcOrd="3" destOrd="0" parTransId="{284ABB80-091C-4195-9466-02F6312FB52C}" sibTransId="{C2112A3D-364B-4C38-8490-ADD6BA6FC837}"/>
    <dgm:cxn modelId="{C2C44A4B-2E4E-4626-8026-1429594B0577}" type="presOf" srcId="{5137751A-6B92-4416-913C-FAEC6CB5829E}" destId="{8F521252-50A6-4EA9-AC51-762FFBA643C9}" srcOrd="0" destOrd="0" presId="urn:microsoft.com/office/officeart/2005/8/layout/StepDownProcess#1"/>
    <dgm:cxn modelId="{68233F83-E532-422A-9A58-9BE56786D9C9}" type="presOf" srcId="{FB0B7038-E59F-4A80-A75E-7AA9F300D739}" destId="{4E8D2CA5-E8F3-41AD-B35D-1FCF8CAD3487}" srcOrd="0" destOrd="0" presId="urn:microsoft.com/office/officeart/2005/8/layout/StepDownProcess#1"/>
    <dgm:cxn modelId="{79417698-EF9F-4E5B-A5DB-6A0BBE2EE94C}" type="presOf" srcId="{4D3602F6-4A56-471E-94CA-95C297AF4D0A}" destId="{FAF4FC6F-67B2-4C23-BD82-FF5779C49F32}" srcOrd="0" destOrd="0" presId="urn:microsoft.com/office/officeart/2005/8/layout/StepDownProcess#1"/>
    <dgm:cxn modelId="{5D5FC6C7-B92A-4E31-A38C-07F13883629B}" srcId="{FB0B7038-E59F-4A80-A75E-7AA9F300D739}" destId="{E9FF6F63-DE8B-49AE-AD60-255A714A296C}" srcOrd="0" destOrd="0" parTransId="{E2F25AF7-B1AC-494B-B2C1-7761C2AD5D10}" sibTransId="{7C3A5ED0-3AE2-4C34-80A5-AFDCC3D00C7D}"/>
    <dgm:cxn modelId="{0DDC0EC8-2634-4184-B4A5-799AFC6917A4}" type="presOf" srcId="{2C6AD28F-A1D9-42FD-8523-B2CDE1C853BE}" destId="{912E4826-423C-48BC-95BF-E0A5B35D7C1F}" srcOrd="0" destOrd="0" presId="urn:microsoft.com/office/officeart/2005/8/layout/StepDownProcess#1"/>
    <dgm:cxn modelId="{A564C3D5-CD37-461F-8D4A-46576FFB1EBF}" type="presOf" srcId="{E9FF6F63-DE8B-49AE-AD60-255A714A296C}" destId="{B6B3DBAD-9628-4182-98C9-C3F56A96B563}" srcOrd="0" destOrd="0" presId="urn:microsoft.com/office/officeart/2005/8/layout/StepDownProcess#1"/>
    <dgm:cxn modelId="{05B148DE-7466-4F0D-B6ED-728010423A77}" type="presOf" srcId="{E8FCE072-2732-44C4-B646-A8A9D1E93FCF}" destId="{5EAEA632-1BDC-4E5C-99A7-1234A1492560}" srcOrd="0" destOrd="0" presId="urn:microsoft.com/office/officeart/2005/8/layout/StepDownProcess#1"/>
    <dgm:cxn modelId="{64D41BE6-A635-4583-9F88-AF8747A3653E}" srcId="{4D3602F6-4A56-471E-94CA-95C297AF4D0A}" destId="{5137751A-6B92-4416-913C-FAEC6CB5829E}" srcOrd="0" destOrd="0" parTransId="{059D19CA-05CD-47BD-8E16-408EC613C9A8}" sibTransId="{3D0CFC71-DD02-4AEE-931E-800CBFD442DE}"/>
    <dgm:cxn modelId="{578A78F8-CBF7-49A6-B2E7-87DB68BA5A43}" type="presOf" srcId="{C77B2DE7-72B5-4696-8020-E9D212156430}" destId="{54F8B79A-809C-4F22-B417-84B1257C574F}" srcOrd="0" destOrd="0" presId="urn:microsoft.com/office/officeart/2005/8/layout/StepDownProcess#1"/>
    <dgm:cxn modelId="{9C8F5FF9-C968-4D6D-BD26-21E269E3682D}" srcId="{FB0B7038-E59F-4A80-A75E-7AA9F300D739}" destId="{4D3602F6-4A56-471E-94CA-95C297AF4D0A}" srcOrd="1" destOrd="0" parTransId="{511DB170-6BB5-4ADD-8085-548C5A4D75BB}" sibTransId="{44F1BF6E-18A0-4182-BD68-FA72641FED89}"/>
    <dgm:cxn modelId="{14E48475-A535-46B1-B2EA-55ECE4DB4993}" type="presParOf" srcId="{4E8D2CA5-E8F3-41AD-B35D-1FCF8CAD3487}" destId="{4885D9FF-6621-4FC5-A9DE-327AB74500CD}" srcOrd="0" destOrd="0" presId="urn:microsoft.com/office/officeart/2005/8/layout/StepDownProcess#1"/>
    <dgm:cxn modelId="{9F4E6188-6484-4D6D-923D-6463365A44C9}" type="presParOf" srcId="{4885D9FF-6621-4FC5-A9DE-327AB74500CD}" destId="{C1069558-9A0D-4777-9B5C-1F8CC5A904D0}" srcOrd="0" destOrd="0" presId="urn:microsoft.com/office/officeart/2005/8/layout/StepDownProcess#1"/>
    <dgm:cxn modelId="{19E0B7C4-1253-46C3-A5BA-1C08FEBECB9F}" type="presParOf" srcId="{4885D9FF-6621-4FC5-A9DE-327AB74500CD}" destId="{B6B3DBAD-9628-4182-98C9-C3F56A96B563}" srcOrd="1" destOrd="0" presId="urn:microsoft.com/office/officeart/2005/8/layout/StepDownProcess#1"/>
    <dgm:cxn modelId="{D3390A8D-0F59-471D-8DD9-61B3A9789543}" type="presParOf" srcId="{4885D9FF-6621-4FC5-A9DE-327AB74500CD}" destId="{CF563743-F0CD-43FF-8ED9-181590D5AEC7}" srcOrd="2" destOrd="0" presId="urn:microsoft.com/office/officeart/2005/8/layout/StepDownProcess#1"/>
    <dgm:cxn modelId="{222DB4FB-E5B6-4EA4-827E-30A2907554EF}" type="presParOf" srcId="{4E8D2CA5-E8F3-41AD-B35D-1FCF8CAD3487}" destId="{F1E93E89-BF11-425F-8AD8-57BDCD076633}" srcOrd="1" destOrd="0" presId="urn:microsoft.com/office/officeart/2005/8/layout/StepDownProcess#1"/>
    <dgm:cxn modelId="{6BEF03EE-14DD-4149-A23A-C25A25572542}" type="presParOf" srcId="{4E8D2CA5-E8F3-41AD-B35D-1FCF8CAD3487}" destId="{5D08F00E-1A1B-44FE-B733-AC1EDA64F34E}" srcOrd="2" destOrd="0" presId="urn:microsoft.com/office/officeart/2005/8/layout/StepDownProcess#1"/>
    <dgm:cxn modelId="{AD4ED6EC-8A30-4F19-83A2-62AA0D055A92}" type="presParOf" srcId="{5D08F00E-1A1B-44FE-B733-AC1EDA64F34E}" destId="{A3E57910-EB90-4850-9A4E-8662A513D003}" srcOrd="0" destOrd="0" presId="urn:microsoft.com/office/officeart/2005/8/layout/StepDownProcess#1"/>
    <dgm:cxn modelId="{1A911BC1-42B2-4301-A2A2-DF406081C40A}" type="presParOf" srcId="{5D08F00E-1A1B-44FE-B733-AC1EDA64F34E}" destId="{FAF4FC6F-67B2-4C23-BD82-FF5779C49F32}" srcOrd="1" destOrd="0" presId="urn:microsoft.com/office/officeart/2005/8/layout/StepDownProcess#1"/>
    <dgm:cxn modelId="{3CD1FEE0-8236-4218-A49B-FF2B9464956D}" type="presParOf" srcId="{5D08F00E-1A1B-44FE-B733-AC1EDA64F34E}" destId="{8F521252-50A6-4EA9-AC51-762FFBA643C9}" srcOrd="2" destOrd="0" presId="urn:microsoft.com/office/officeart/2005/8/layout/StepDownProcess#1"/>
    <dgm:cxn modelId="{F1932650-87A9-41A2-9424-FF94F1CE2BF6}" type="presParOf" srcId="{4E8D2CA5-E8F3-41AD-B35D-1FCF8CAD3487}" destId="{B2014751-3328-490B-A771-AD3E49DD01DB}" srcOrd="3" destOrd="0" presId="urn:microsoft.com/office/officeart/2005/8/layout/StepDownProcess#1"/>
    <dgm:cxn modelId="{4D2F3B21-0A04-4EF2-AF64-18F82E84D49E}" type="presParOf" srcId="{4E8D2CA5-E8F3-41AD-B35D-1FCF8CAD3487}" destId="{694786D1-918A-4EAD-89A6-0B79C452A099}" srcOrd="4" destOrd="0" presId="urn:microsoft.com/office/officeart/2005/8/layout/StepDownProcess#1"/>
    <dgm:cxn modelId="{46F4C2F2-DC6D-46CB-8625-384A4B0B8105}" type="presParOf" srcId="{694786D1-918A-4EAD-89A6-0B79C452A099}" destId="{8D023A2E-F4BF-417B-8FBD-A24E71C9D682}" srcOrd="0" destOrd="0" presId="urn:microsoft.com/office/officeart/2005/8/layout/StepDownProcess#1"/>
    <dgm:cxn modelId="{929722D5-9F55-4755-91CE-CEC6249D0623}" type="presParOf" srcId="{694786D1-918A-4EAD-89A6-0B79C452A099}" destId="{54F8B79A-809C-4F22-B417-84B1257C574F}" srcOrd="1" destOrd="0" presId="urn:microsoft.com/office/officeart/2005/8/layout/StepDownProcess#1"/>
    <dgm:cxn modelId="{46224893-003D-4777-9135-15AC078E9363}" type="presParOf" srcId="{694786D1-918A-4EAD-89A6-0B79C452A099}" destId="{912E4826-423C-48BC-95BF-E0A5B35D7C1F}" srcOrd="2" destOrd="0" presId="urn:microsoft.com/office/officeart/2005/8/layout/StepDownProcess#1"/>
    <dgm:cxn modelId="{9C82041A-CD64-4FA1-82A3-70B20D2A014B}" type="presParOf" srcId="{4E8D2CA5-E8F3-41AD-B35D-1FCF8CAD3487}" destId="{B23B92FB-662C-406E-9FEF-9344B5035B67}" srcOrd="5" destOrd="0" presId="urn:microsoft.com/office/officeart/2005/8/layout/StepDownProcess#1"/>
    <dgm:cxn modelId="{D5D4EB6F-012B-4863-B6A9-2A384F07B8FA}" type="presParOf" srcId="{4E8D2CA5-E8F3-41AD-B35D-1FCF8CAD3487}" destId="{61EB0D3E-9D25-49B3-8C0E-FD1B51AC77B3}" srcOrd="6" destOrd="0" presId="urn:microsoft.com/office/officeart/2005/8/layout/StepDownProcess#1"/>
    <dgm:cxn modelId="{CF06444B-C967-4E89-BE79-786B28254D5F}" type="presParOf" srcId="{61EB0D3E-9D25-49B3-8C0E-FD1B51AC77B3}" destId="{5EAEA632-1BDC-4E5C-99A7-1234A1492560}" srcOrd="0" destOrd="0" presId="urn:microsoft.com/office/officeart/2005/8/layout/StepDownProcess#1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4CA7B40-9EB7-4C77-8556-119F053A3BC1}" type="doc">
      <dgm:prSet loTypeId="urn:microsoft.com/office/officeart/2005/8/layout/process2" loCatId="process" qsTypeId="urn:microsoft.com/office/officeart/2005/8/quickstyle/simple2#1" qsCatId="simple" csTypeId="urn:microsoft.com/office/officeart/2005/8/colors/colorful1#1" csCatId="accent1" phldr="0"/>
      <dgm:spPr/>
    </dgm:pt>
    <dgm:pt modelId="{7166A9DB-20D7-41DA-B6C7-4E91D46FE0EA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/>
            <a:t>浏览器</a:t>
          </a:r>
        </a:p>
      </dgm:t>
    </dgm:pt>
    <dgm:pt modelId="{408890A2-EC03-4CB7-8006-30F7A6F0770D}" type="parTrans" cxnId="{2A81A1AE-FC23-41F1-90AA-5D082A7331DE}">
      <dgm:prSet/>
      <dgm:spPr/>
    </dgm:pt>
    <dgm:pt modelId="{581D0B67-AC66-4DBF-B99A-8C26BE060068}" type="sibTrans" cxnId="{2A81A1AE-FC23-41F1-90AA-5D082A7331DE}">
      <dgm:prSet/>
      <dgm:spPr/>
      <dgm:t>
        <a:bodyPr/>
        <a:lstStyle/>
        <a:p>
          <a:endParaRPr lang="zh-CN" altLang="en-US"/>
        </a:p>
      </dgm:t>
    </dgm:pt>
    <dgm:pt modelId="{6185F46A-CE7B-4D19-AD38-021F06F11723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/>
            <a:t>后台服务器</a:t>
          </a:r>
        </a:p>
      </dgm:t>
    </dgm:pt>
    <dgm:pt modelId="{ED707A62-C95F-489D-A288-204A854541E1}" type="parTrans" cxnId="{C8799E33-59E7-4124-A7C1-5A33210B3578}">
      <dgm:prSet/>
      <dgm:spPr/>
    </dgm:pt>
    <dgm:pt modelId="{209F9C23-F1DF-401B-A4AD-306C9EB4247C}" type="sibTrans" cxnId="{C8799E33-59E7-4124-A7C1-5A33210B3578}">
      <dgm:prSet/>
      <dgm:spPr/>
      <dgm:t>
        <a:bodyPr/>
        <a:lstStyle/>
        <a:p>
          <a:endParaRPr lang="zh-CN" altLang="en-US"/>
        </a:p>
      </dgm:t>
    </dgm:pt>
    <dgm:pt modelId="{9D4F7890-BC71-471E-AB1B-9F598D752858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/>
            <a:t>数据库</a:t>
          </a:r>
        </a:p>
      </dgm:t>
    </dgm:pt>
    <dgm:pt modelId="{8A81A9A1-3D17-4B5E-823A-F4C61634A717}" type="parTrans" cxnId="{EE33285A-C6AD-4AEB-8E7E-E23E85A343BC}">
      <dgm:prSet/>
      <dgm:spPr/>
    </dgm:pt>
    <dgm:pt modelId="{A02D4AB0-BE01-45C2-BD3E-6766ADB3B021}" type="sibTrans" cxnId="{EE33285A-C6AD-4AEB-8E7E-E23E85A343BC}">
      <dgm:prSet/>
      <dgm:spPr/>
    </dgm:pt>
    <dgm:pt modelId="{7E3F7EC5-1729-4088-BB09-36E02E33A0BF}" type="pres">
      <dgm:prSet presAssocID="{A4CA7B40-9EB7-4C77-8556-119F053A3BC1}" presName="linearFlow" presStyleCnt="0">
        <dgm:presLayoutVars>
          <dgm:resizeHandles val="exact"/>
        </dgm:presLayoutVars>
      </dgm:prSet>
      <dgm:spPr/>
    </dgm:pt>
    <dgm:pt modelId="{E17E57AF-0587-449A-A755-B1B96DEF2BD2}" type="pres">
      <dgm:prSet presAssocID="{7166A9DB-20D7-41DA-B6C7-4E91D46FE0EA}" presName="node" presStyleLbl="node1" presStyleIdx="0" presStyleCnt="3">
        <dgm:presLayoutVars>
          <dgm:bulletEnabled val="1"/>
        </dgm:presLayoutVars>
      </dgm:prSet>
      <dgm:spPr/>
    </dgm:pt>
    <dgm:pt modelId="{11477A19-6F59-488F-BD44-5E3FBE8E3386}" type="pres">
      <dgm:prSet presAssocID="{581D0B67-AC66-4DBF-B99A-8C26BE060068}" presName="sibTrans" presStyleLbl="sibTrans2D1" presStyleIdx="0" presStyleCnt="2"/>
      <dgm:spPr/>
    </dgm:pt>
    <dgm:pt modelId="{1FA9844B-FD2C-4DAF-BE12-A8E3C3B7E384}" type="pres">
      <dgm:prSet presAssocID="{581D0B67-AC66-4DBF-B99A-8C26BE060068}" presName="connectorText" presStyleLbl="sibTrans2D1" presStyleIdx="0" presStyleCnt="2"/>
      <dgm:spPr/>
    </dgm:pt>
    <dgm:pt modelId="{353C71C7-5E8B-4565-86BF-B755B524B25E}" type="pres">
      <dgm:prSet presAssocID="{6185F46A-CE7B-4D19-AD38-021F06F11723}" presName="node" presStyleLbl="node1" presStyleIdx="1" presStyleCnt="3">
        <dgm:presLayoutVars>
          <dgm:bulletEnabled val="1"/>
        </dgm:presLayoutVars>
      </dgm:prSet>
      <dgm:spPr/>
    </dgm:pt>
    <dgm:pt modelId="{06ECC167-6368-4F79-84C6-65D90B9BC4A6}" type="pres">
      <dgm:prSet presAssocID="{209F9C23-F1DF-401B-A4AD-306C9EB4247C}" presName="sibTrans" presStyleLbl="sibTrans2D1" presStyleIdx="1" presStyleCnt="2"/>
      <dgm:spPr/>
    </dgm:pt>
    <dgm:pt modelId="{1AF533A8-48F1-4B19-9CD9-5A2DB7199B85}" type="pres">
      <dgm:prSet presAssocID="{209F9C23-F1DF-401B-A4AD-306C9EB4247C}" presName="connectorText" presStyleLbl="sibTrans2D1" presStyleIdx="1" presStyleCnt="2"/>
      <dgm:spPr/>
    </dgm:pt>
    <dgm:pt modelId="{93DEFB83-998E-4F52-9267-01422D869D93}" type="pres">
      <dgm:prSet presAssocID="{9D4F7890-BC71-471E-AB1B-9F598D752858}" presName="node" presStyleLbl="node1" presStyleIdx="2" presStyleCnt="3">
        <dgm:presLayoutVars>
          <dgm:bulletEnabled val="1"/>
        </dgm:presLayoutVars>
      </dgm:prSet>
      <dgm:spPr/>
    </dgm:pt>
  </dgm:ptLst>
  <dgm:cxnLst>
    <dgm:cxn modelId="{77E84B13-19E4-4A11-858A-4A398B877698}" type="presOf" srcId="{9D4F7890-BC71-471E-AB1B-9F598D752858}" destId="{93DEFB83-998E-4F52-9267-01422D869D93}" srcOrd="0" destOrd="0" presId="urn:microsoft.com/office/officeart/2005/8/layout/process2"/>
    <dgm:cxn modelId="{C8799E33-59E7-4124-A7C1-5A33210B3578}" srcId="{A4CA7B40-9EB7-4C77-8556-119F053A3BC1}" destId="{6185F46A-CE7B-4D19-AD38-021F06F11723}" srcOrd="1" destOrd="0" parTransId="{ED707A62-C95F-489D-A288-204A854541E1}" sibTransId="{209F9C23-F1DF-401B-A4AD-306C9EB4247C}"/>
    <dgm:cxn modelId="{5DB51A6E-653A-46CB-9A3F-FB066C67FA30}" type="presOf" srcId="{581D0B67-AC66-4DBF-B99A-8C26BE060068}" destId="{1FA9844B-FD2C-4DAF-BE12-A8E3C3B7E384}" srcOrd="1" destOrd="0" presId="urn:microsoft.com/office/officeart/2005/8/layout/process2"/>
    <dgm:cxn modelId="{EE33285A-C6AD-4AEB-8E7E-E23E85A343BC}" srcId="{A4CA7B40-9EB7-4C77-8556-119F053A3BC1}" destId="{9D4F7890-BC71-471E-AB1B-9F598D752858}" srcOrd="2" destOrd="0" parTransId="{8A81A9A1-3D17-4B5E-823A-F4C61634A717}" sibTransId="{A02D4AB0-BE01-45C2-BD3E-6766ADB3B021}"/>
    <dgm:cxn modelId="{61784792-20F9-4AAE-8085-34822F5DB1FF}" type="presOf" srcId="{7166A9DB-20D7-41DA-B6C7-4E91D46FE0EA}" destId="{E17E57AF-0587-449A-A755-B1B96DEF2BD2}" srcOrd="0" destOrd="0" presId="urn:microsoft.com/office/officeart/2005/8/layout/process2"/>
    <dgm:cxn modelId="{D90EDBA7-AA62-4206-B6EC-07223EF2ECB9}" type="presOf" srcId="{209F9C23-F1DF-401B-A4AD-306C9EB4247C}" destId="{06ECC167-6368-4F79-84C6-65D90B9BC4A6}" srcOrd="0" destOrd="0" presId="urn:microsoft.com/office/officeart/2005/8/layout/process2"/>
    <dgm:cxn modelId="{2A81A1AE-FC23-41F1-90AA-5D082A7331DE}" srcId="{A4CA7B40-9EB7-4C77-8556-119F053A3BC1}" destId="{7166A9DB-20D7-41DA-B6C7-4E91D46FE0EA}" srcOrd="0" destOrd="0" parTransId="{408890A2-EC03-4CB7-8006-30F7A6F0770D}" sibTransId="{581D0B67-AC66-4DBF-B99A-8C26BE060068}"/>
    <dgm:cxn modelId="{63868DC0-FEAC-4AE4-BD58-59F42FB5865B}" type="presOf" srcId="{6185F46A-CE7B-4D19-AD38-021F06F11723}" destId="{353C71C7-5E8B-4565-86BF-B755B524B25E}" srcOrd="0" destOrd="0" presId="urn:microsoft.com/office/officeart/2005/8/layout/process2"/>
    <dgm:cxn modelId="{74407ED6-5430-4593-AD70-9F8DD12801C9}" type="presOf" srcId="{A4CA7B40-9EB7-4C77-8556-119F053A3BC1}" destId="{7E3F7EC5-1729-4088-BB09-36E02E33A0BF}" srcOrd="0" destOrd="0" presId="urn:microsoft.com/office/officeart/2005/8/layout/process2"/>
    <dgm:cxn modelId="{CC600DE2-CE04-4F7C-ABED-9A58EFD15D33}" type="presOf" srcId="{581D0B67-AC66-4DBF-B99A-8C26BE060068}" destId="{11477A19-6F59-488F-BD44-5E3FBE8E3386}" srcOrd="0" destOrd="0" presId="urn:microsoft.com/office/officeart/2005/8/layout/process2"/>
    <dgm:cxn modelId="{996EAEEB-3A76-4A9A-AEC8-4FC39973581A}" type="presOf" srcId="{209F9C23-F1DF-401B-A4AD-306C9EB4247C}" destId="{1AF533A8-48F1-4B19-9CD9-5A2DB7199B85}" srcOrd="1" destOrd="0" presId="urn:microsoft.com/office/officeart/2005/8/layout/process2"/>
    <dgm:cxn modelId="{7E097493-83CF-409A-82D6-504C197E31F3}" type="presParOf" srcId="{7E3F7EC5-1729-4088-BB09-36E02E33A0BF}" destId="{E17E57AF-0587-449A-A755-B1B96DEF2BD2}" srcOrd="0" destOrd="0" presId="urn:microsoft.com/office/officeart/2005/8/layout/process2"/>
    <dgm:cxn modelId="{6CAD8B7C-DFF4-4AD6-ACAF-408550072164}" type="presParOf" srcId="{7E3F7EC5-1729-4088-BB09-36E02E33A0BF}" destId="{11477A19-6F59-488F-BD44-5E3FBE8E3386}" srcOrd="1" destOrd="0" presId="urn:microsoft.com/office/officeart/2005/8/layout/process2"/>
    <dgm:cxn modelId="{2AB49A02-4FE7-4E49-BEE2-491C68C790F4}" type="presParOf" srcId="{11477A19-6F59-488F-BD44-5E3FBE8E3386}" destId="{1FA9844B-FD2C-4DAF-BE12-A8E3C3B7E384}" srcOrd="0" destOrd="0" presId="urn:microsoft.com/office/officeart/2005/8/layout/process2"/>
    <dgm:cxn modelId="{AFE335BE-1E61-4DDF-B0D8-4A4130CB294F}" type="presParOf" srcId="{7E3F7EC5-1729-4088-BB09-36E02E33A0BF}" destId="{353C71C7-5E8B-4565-86BF-B755B524B25E}" srcOrd="2" destOrd="0" presId="urn:microsoft.com/office/officeart/2005/8/layout/process2"/>
    <dgm:cxn modelId="{0A690916-0BE3-4820-BA6F-6F50F676DE83}" type="presParOf" srcId="{7E3F7EC5-1729-4088-BB09-36E02E33A0BF}" destId="{06ECC167-6368-4F79-84C6-65D90B9BC4A6}" srcOrd="3" destOrd="0" presId="urn:microsoft.com/office/officeart/2005/8/layout/process2"/>
    <dgm:cxn modelId="{6FF94ADC-05C5-4A0E-931D-12AE6C958A63}" type="presParOf" srcId="{06ECC167-6368-4F79-84C6-65D90B9BC4A6}" destId="{1AF533A8-48F1-4B19-9CD9-5A2DB7199B85}" srcOrd="0" destOrd="0" presId="urn:microsoft.com/office/officeart/2005/8/layout/process2"/>
    <dgm:cxn modelId="{21F85E32-14DF-4DD1-A7C0-C2AF146F1E04}" type="presParOf" srcId="{7E3F7EC5-1729-4088-BB09-36E02E33A0BF}" destId="{93DEFB83-998E-4F52-9267-01422D869D93}" srcOrd="4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77D31B3-3808-4FBA-8FA4-CC8D448A173E}" type="doc">
      <dgm:prSet loTypeId="urn:microsoft.com/office/officeart/2005/8/layout/orgChart1#1" loCatId="hierarchy" qsTypeId="urn:microsoft.com/office/officeart/2005/8/quickstyle/simple5#1" qsCatId="simple" csTypeId="urn:microsoft.com/office/officeart/2005/8/colors/colorful1#2" csCatId="accent1" phldr="0"/>
      <dgm:spPr/>
      <dgm:t>
        <a:bodyPr/>
        <a:lstStyle/>
        <a:p>
          <a:endParaRPr lang="zh-CN" altLang="en-US"/>
        </a:p>
      </dgm:t>
    </dgm:pt>
    <dgm:pt modelId="{47C757F0-AA23-46BE-9311-EA432CDEEAA1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/>
            <a:t>判题服务器</a:t>
          </a:r>
        </a:p>
      </dgm:t>
    </dgm:pt>
    <dgm:pt modelId="{AB39B06D-FE6C-48B2-B5B4-77CD0C8CF7AD}" type="parTrans" cxnId="{68E48A32-CB2E-43DE-B109-0A9CA3FCA1C5}">
      <dgm:prSet/>
      <dgm:spPr/>
      <dgm:t>
        <a:bodyPr/>
        <a:lstStyle/>
        <a:p>
          <a:endParaRPr lang="zh-CN" altLang="en-US"/>
        </a:p>
      </dgm:t>
    </dgm:pt>
    <dgm:pt modelId="{DF0D1C21-B79E-4875-B7FA-EF183CB48B88}" type="sibTrans" cxnId="{68E48A32-CB2E-43DE-B109-0A9CA3FCA1C5}">
      <dgm:prSet/>
      <dgm:spPr/>
      <dgm:t>
        <a:bodyPr/>
        <a:lstStyle/>
        <a:p>
          <a:endParaRPr lang="zh-CN" altLang="en-US"/>
        </a:p>
      </dgm:t>
    </dgm:pt>
    <dgm:pt modelId="{4EC42421-831D-4CD3-8215-2AF4300F9C01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>
              <a:sym typeface="+mn-ea"/>
            </a:rPr>
            <a:t>判</a:t>
          </a:r>
          <a:r>
            <a:rPr lang="zh-CN" altLang="en-US">
              <a:sym typeface="+mn-ea"/>
            </a:rPr>
            <a:t>题机</a:t>
          </a:r>
          <a:endParaRPr lang="zh-CN" altLang="en-US"/>
        </a:p>
      </dgm:t>
    </dgm:pt>
    <dgm:pt modelId="{8D5FB264-0A5C-4C3A-85B7-453D9BD837DF}" type="parTrans" cxnId="{FBEFC0D4-CCAD-4A68-ACF7-7106C9118E33}">
      <dgm:prSet/>
      <dgm:spPr/>
      <dgm:t>
        <a:bodyPr/>
        <a:lstStyle/>
        <a:p>
          <a:endParaRPr lang="zh-CN" altLang="en-US"/>
        </a:p>
      </dgm:t>
    </dgm:pt>
    <dgm:pt modelId="{A1825131-D805-48C8-BFCE-E45C02E6F5CE}" type="sibTrans" cxnId="{FBEFC0D4-CCAD-4A68-ACF7-7106C9118E33}">
      <dgm:prSet/>
      <dgm:spPr/>
      <dgm:t>
        <a:bodyPr/>
        <a:lstStyle/>
        <a:p>
          <a:endParaRPr lang="zh-CN" altLang="en-US"/>
        </a:p>
      </dgm:t>
    </dgm:pt>
    <dgm:pt modelId="{2F003BCF-431C-412D-A6F6-8F6D4EFA53E7}">
      <dgm:prSet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>
              <a:sym typeface="+mn-ea"/>
            </a:rPr>
            <a:t>判</a:t>
          </a:r>
          <a:r>
            <a:rPr lang="zh-CN" altLang="en-US">
              <a:sym typeface="+mn-ea"/>
            </a:rPr>
            <a:t>题机</a:t>
          </a:r>
          <a:endParaRPr lang="zh-CN" altLang="en-US"/>
        </a:p>
      </dgm:t>
    </dgm:pt>
    <dgm:pt modelId="{206F77BC-8A8C-400E-B5C6-E570809A12E8}" type="parTrans" cxnId="{E2175C63-8D52-4A93-9B6D-DF5FAA2FE8B0}">
      <dgm:prSet/>
      <dgm:spPr/>
      <dgm:t>
        <a:bodyPr/>
        <a:lstStyle/>
        <a:p>
          <a:endParaRPr lang="zh-CN" altLang="en-US"/>
        </a:p>
      </dgm:t>
    </dgm:pt>
    <dgm:pt modelId="{DE777C9D-8743-4283-A6B1-88123756814E}" type="sibTrans" cxnId="{E2175C63-8D52-4A93-9B6D-DF5FAA2FE8B0}">
      <dgm:prSet/>
      <dgm:spPr/>
      <dgm:t>
        <a:bodyPr/>
        <a:lstStyle/>
        <a:p>
          <a:endParaRPr lang="zh-CN" altLang="en-US"/>
        </a:p>
      </dgm:t>
    </dgm:pt>
    <dgm:pt modelId="{CF717C8A-B40B-4AFF-BF49-65ABB7DF8190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>
              <a:sym typeface="+mn-ea"/>
            </a:rPr>
            <a:t>判题机</a:t>
          </a:r>
          <a:endParaRPr lang="zh-CN" altLang="en-US"/>
        </a:p>
      </dgm:t>
    </dgm:pt>
    <dgm:pt modelId="{CCF68ADE-40B6-47D0-93C1-88EC13ADC8AC}" type="parTrans" cxnId="{3792B756-250F-44EE-AD2F-4C907323F1B8}">
      <dgm:prSet/>
      <dgm:spPr/>
      <dgm:t>
        <a:bodyPr/>
        <a:lstStyle/>
        <a:p>
          <a:endParaRPr lang="zh-CN" altLang="en-US"/>
        </a:p>
      </dgm:t>
    </dgm:pt>
    <dgm:pt modelId="{630D3E0B-D1D7-4E1A-8193-515AA5E1866F}" type="sibTrans" cxnId="{3792B756-250F-44EE-AD2F-4C907323F1B8}">
      <dgm:prSet/>
      <dgm:spPr/>
      <dgm:t>
        <a:bodyPr/>
        <a:lstStyle/>
        <a:p>
          <a:endParaRPr lang="zh-CN" altLang="en-US"/>
        </a:p>
      </dgm:t>
    </dgm:pt>
    <dgm:pt modelId="{98485B0B-0BEF-4B09-9F4E-DABE19188B7F}">
      <dgm:prSet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>
              <a:sym typeface="+mn-ea"/>
            </a:rPr>
            <a:t>判</a:t>
          </a:r>
          <a:r>
            <a:rPr lang="zh-CN" altLang="en-US">
              <a:sym typeface="+mn-ea"/>
            </a:rPr>
            <a:t>题机</a:t>
          </a:r>
          <a:endParaRPr lang="zh-CN" altLang="en-US"/>
        </a:p>
      </dgm:t>
    </dgm:pt>
    <dgm:pt modelId="{C6898E63-F562-42AA-BD26-4F5810CCECE8}" type="parTrans" cxnId="{EC197E36-A3F0-4584-92ED-A83A00609E85}">
      <dgm:prSet/>
      <dgm:spPr/>
      <dgm:t>
        <a:bodyPr/>
        <a:lstStyle/>
        <a:p>
          <a:endParaRPr lang="zh-CN" altLang="en-US"/>
        </a:p>
      </dgm:t>
    </dgm:pt>
    <dgm:pt modelId="{A5D9CE0C-65E8-40FF-8861-44B0BA6DB178}" type="sibTrans" cxnId="{EC197E36-A3F0-4584-92ED-A83A00609E85}">
      <dgm:prSet/>
      <dgm:spPr/>
      <dgm:t>
        <a:bodyPr/>
        <a:lstStyle/>
        <a:p>
          <a:endParaRPr lang="zh-CN" altLang="en-US"/>
        </a:p>
      </dgm:t>
    </dgm:pt>
    <dgm:pt modelId="{E498DC9C-C5AC-4482-A26F-3B99DC5D79F0}" type="pres">
      <dgm:prSet presAssocID="{A77D31B3-3808-4FBA-8FA4-CC8D448A173E}" presName="hierChild1" presStyleCnt="0">
        <dgm:presLayoutVars>
          <dgm:orgChart val="1"/>
          <dgm:chPref val="1"/>
          <dgm:dir val="rev"/>
          <dgm:animOne val="branch"/>
          <dgm:animLvl val="lvl"/>
          <dgm:resizeHandles/>
        </dgm:presLayoutVars>
      </dgm:prSet>
      <dgm:spPr/>
    </dgm:pt>
    <dgm:pt modelId="{F728C3E8-5128-4BB6-90CC-A86769ECE335}" type="pres">
      <dgm:prSet presAssocID="{47C757F0-AA23-46BE-9311-EA432CDEEAA1}" presName="hierRoot1" presStyleCnt="0">
        <dgm:presLayoutVars>
          <dgm:hierBranch val="init"/>
        </dgm:presLayoutVars>
      </dgm:prSet>
      <dgm:spPr/>
    </dgm:pt>
    <dgm:pt modelId="{79147750-B6BF-43FD-83A0-7ACDC9B53EFF}" type="pres">
      <dgm:prSet presAssocID="{47C757F0-AA23-46BE-9311-EA432CDEEAA1}" presName="rootComposite1" presStyleCnt="0"/>
      <dgm:spPr/>
    </dgm:pt>
    <dgm:pt modelId="{AE79172D-D441-42BB-84EA-E3D989670DED}" type="pres">
      <dgm:prSet presAssocID="{47C757F0-AA23-46BE-9311-EA432CDEEAA1}" presName="rootText1" presStyleLbl="node0" presStyleIdx="0" presStyleCnt="1" custScaleX="127272" custScaleY="120427" custLinFactNeighborX="85989" custLinFactNeighborY="7593">
        <dgm:presLayoutVars>
          <dgm:chPref val="3"/>
        </dgm:presLayoutVars>
      </dgm:prSet>
      <dgm:spPr/>
    </dgm:pt>
    <dgm:pt modelId="{86420519-308D-4A6A-8FEA-6FB2E39BA448}" type="pres">
      <dgm:prSet presAssocID="{47C757F0-AA23-46BE-9311-EA432CDEEAA1}" presName="rootConnector1" presStyleLbl="node1" presStyleIdx="0" presStyleCnt="0"/>
      <dgm:spPr/>
    </dgm:pt>
    <dgm:pt modelId="{9A0FF10C-81C7-47CD-A320-768F2009480B}" type="pres">
      <dgm:prSet presAssocID="{47C757F0-AA23-46BE-9311-EA432CDEEAA1}" presName="hierChild2" presStyleCnt="0"/>
      <dgm:spPr/>
    </dgm:pt>
    <dgm:pt modelId="{F492B679-3C8C-4E72-95A8-8B81298826E7}" type="pres">
      <dgm:prSet presAssocID="{8D5FB264-0A5C-4C3A-85B7-453D9BD837DF}" presName="Name37" presStyleLbl="parChTrans1D2" presStyleIdx="0" presStyleCnt="4"/>
      <dgm:spPr/>
    </dgm:pt>
    <dgm:pt modelId="{C6F584B9-7EA2-46D8-913B-8F508509ECAB}" type="pres">
      <dgm:prSet presAssocID="{4EC42421-831D-4CD3-8215-2AF4300F9C01}" presName="hierRoot2" presStyleCnt="0">
        <dgm:presLayoutVars>
          <dgm:hierBranch val="init"/>
        </dgm:presLayoutVars>
      </dgm:prSet>
      <dgm:spPr/>
    </dgm:pt>
    <dgm:pt modelId="{6CAD9CE6-86A1-4F7D-98A6-3AF53F55F9E3}" type="pres">
      <dgm:prSet presAssocID="{4EC42421-831D-4CD3-8215-2AF4300F9C01}" presName="rootComposite" presStyleCnt="0"/>
      <dgm:spPr/>
    </dgm:pt>
    <dgm:pt modelId="{08A0D1D2-3A20-4D63-8E35-B7C8B6B16D48}" type="pres">
      <dgm:prSet presAssocID="{4EC42421-831D-4CD3-8215-2AF4300F9C01}" presName="rootText" presStyleLbl="node2" presStyleIdx="0" presStyleCnt="4" custLinFactNeighborX="-2567" custLinFactNeighborY="66841">
        <dgm:presLayoutVars>
          <dgm:chPref val="3"/>
        </dgm:presLayoutVars>
      </dgm:prSet>
      <dgm:spPr/>
    </dgm:pt>
    <dgm:pt modelId="{6238C53E-A961-488B-8FBD-6EC13507B069}" type="pres">
      <dgm:prSet presAssocID="{4EC42421-831D-4CD3-8215-2AF4300F9C01}" presName="rootConnector" presStyleLbl="node2" presStyleIdx="0" presStyleCnt="4"/>
      <dgm:spPr/>
    </dgm:pt>
    <dgm:pt modelId="{A9C46FD3-3BE9-4E6E-BFF6-B0B42B13F857}" type="pres">
      <dgm:prSet presAssocID="{4EC42421-831D-4CD3-8215-2AF4300F9C01}" presName="hierChild4" presStyleCnt="0"/>
      <dgm:spPr/>
    </dgm:pt>
    <dgm:pt modelId="{A663BBFB-A120-4F5B-82EC-DB644DB9966B}" type="pres">
      <dgm:prSet presAssocID="{4EC42421-831D-4CD3-8215-2AF4300F9C01}" presName="hierChild5" presStyleCnt="0"/>
      <dgm:spPr/>
    </dgm:pt>
    <dgm:pt modelId="{584CD90E-BC25-40D9-BEBE-272B942CB872}" type="pres">
      <dgm:prSet presAssocID="{206F77BC-8A8C-400E-B5C6-E570809A12E8}" presName="Name37" presStyleLbl="parChTrans1D2" presStyleIdx="1" presStyleCnt="4"/>
      <dgm:spPr/>
    </dgm:pt>
    <dgm:pt modelId="{3569C1DC-29DA-44B4-B681-D7F109A3D5BB}" type="pres">
      <dgm:prSet presAssocID="{2F003BCF-431C-412D-A6F6-8F6D4EFA53E7}" presName="hierRoot2" presStyleCnt="0">
        <dgm:presLayoutVars>
          <dgm:hierBranch/>
        </dgm:presLayoutVars>
      </dgm:prSet>
      <dgm:spPr/>
    </dgm:pt>
    <dgm:pt modelId="{9025D6BD-D58C-4123-92E1-6595C57575ED}" type="pres">
      <dgm:prSet presAssocID="{2F003BCF-431C-412D-A6F6-8F6D4EFA53E7}" presName="rootComposite" presStyleCnt="0"/>
      <dgm:spPr/>
    </dgm:pt>
    <dgm:pt modelId="{F9BF79BF-9870-4614-9CA6-441BB6630F56}" type="pres">
      <dgm:prSet presAssocID="{2F003BCF-431C-412D-A6F6-8F6D4EFA53E7}" presName="rootText" presStyleLbl="node2" presStyleIdx="1" presStyleCnt="4" custLinFactNeighborX="-6313" custLinFactNeighborY="66201">
        <dgm:presLayoutVars>
          <dgm:chPref val="3"/>
        </dgm:presLayoutVars>
      </dgm:prSet>
      <dgm:spPr/>
    </dgm:pt>
    <dgm:pt modelId="{DBEED356-0F77-4597-8A2D-1A726BB941E4}" type="pres">
      <dgm:prSet presAssocID="{2F003BCF-431C-412D-A6F6-8F6D4EFA53E7}" presName="rootConnector" presStyleLbl="node2" presStyleIdx="1" presStyleCnt="4"/>
      <dgm:spPr/>
    </dgm:pt>
    <dgm:pt modelId="{325DCB31-253B-4FB9-8F99-8038EB750182}" type="pres">
      <dgm:prSet presAssocID="{2F003BCF-431C-412D-A6F6-8F6D4EFA53E7}" presName="hierChild4" presStyleCnt="0"/>
      <dgm:spPr/>
    </dgm:pt>
    <dgm:pt modelId="{AADFA53D-81AB-49EE-9AF4-CAAF8D585961}" type="pres">
      <dgm:prSet presAssocID="{2F003BCF-431C-412D-A6F6-8F6D4EFA53E7}" presName="hierChild5" presStyleCnt="0"/>
      <dgm:spPr/>
    </dgm:pt>
    <dgm:pt modelId="{AB3A8128-6C86-49B7-B5CC-0153888815E5}" type="pres">
      <dgm:prSet presAssocID="{CCF68ADE-40B6-47D0-93C1-88EC13ADC8AC}" presName="Name37" presStyleLbl="parChTrans1D2" presStyleIdx="2" presStyleCnt="4"/>
      <dgm:spPr/>
    </dgm:pt>
    <dgm:pt modelId="{1A917F9A-DDE6-4568-B35C-7FABCEF0A586}" type="pres">
      <dgm:prSet presAssocID="{CF717C8A-B40B-4AFF-BF49-65ABB7DF8190}" presName="hierRoot2" presStyleCnt="0">
        <dgm:presLayoutVars>
          <dgm:hierBranch val="init"/>
        </dgm:presLayoutVars>
      </dgm:prSet>
      <dgm:spPr/>
    </dgm:pt>
    <dgm:pt modelId="{FA949B67-3DB7-47FA-97C9-4A653E762F22}" type="pres">
      <dgm:prSet presAssocID="{CF717C8A-B40B-4AFF-BF49-65ABB7DF8190}" presName="rootComposite" presStyleCnt="0"/>
      <dgm:spPr/>
    </dgm:pt>
    <dgm:pt modelId="{7D64F4A3-0E55-47AC-A59B-9D5A9DC25552}" type="pres">
      <dgm:prSet presAssocID="{CF717C8A-B40B-4AFF-BF49-65ABB7DF8190}" presName="rootText" presStyleLbl="node2" presStyleIdx="2" presStyleCnt="4" custLinFactNeighborX="-1552" custLinFactNeighborY="66840">
        <dgm:presLayoutVars>
          <dgm:chPref val="3"/>
        </dgm:presLayoutVars>
      </dgm:prSet>
      <dgm:spPr/>
    </dgm:pt>
    <dgm:pt modelId="{5667CB49-EC34-46BC-AD2D-72F3BD95D049}" type="pres">
      <dgm:prSet presAssocID="{CF717C8A-B40B-4AFF-BF49-65ABB7DF8190}" presName="rootConnector" presStyleLbl="node2" presStyleIdx="2" presStyleCnt="4"/>
      <dgm:spPr/>
    </dgm:pt>
    <dgm:pt modelId="{EB3A10DA-2FA4-4DAD-8341-8078D7F83716}" type="pres">
      <dgm:prSet presAssocID="{CF717C8A-B40B-4AFF-BF49-65ABB7DF8190}" presName="hierChild4" presStyleCnt="0"/>
      <dgm:spPr/>
    </dgm:pt>
    <dgm:pt modelId="{B05C5608-85C8-433E-A928-1755312B673B}" type="pres">
      <dgm:prSet presAssocID="{CF717C8A-B40B-4AFF-BF49-65ABB7DF8190}" presName="hierChild5" presStyleCnt="0"/>
      <dgm:spPr/>
    </dgm:pt>
    <dgm:pt modelId="{67E2D22C-841A-42D7-B70A-68BAE7728FB5}" type="pres">
      <dgm:prSet presAssocID="{C6898E63-F562-42AA-BD26-4F5810CCECE8}" presName="Name37" presStyleLbl="parChTrans1D2" presStyleIdx="3" presStyleCnt="4"/>
      <dgm:spPr/>
    </dgm:pt>
    <dgm:pt modelId="{E2B6A01F-0B07-43D2-9371-9B443678BBA2}" type="pres">
      <dgm:prSet presAssocID="{98485B0B-0BEF-4B09-9F4E-DABE19188B7F}" presName="hierRoot2" presStyleCnt="0">
        <dgm:presLayoutVars>
          <dgm:hierBranch val="init"/>
        </dgm:presLayoutVars>
      </dgm:prSet>
      <dgm:spPr/>
    </dgm:pt>
    <dgm:pt modelId="{38BF995F-2D0A-4A68-A4BB-4C4C361D72B5}" type="pres">
      <dgm:prSet presAssocID="{98485B0B-0BEF-4B09-9F4E-DABE19188B7F}" presName="rootComposite" presStyleCnt="0"/>
      <dgm:spPr/>
    </dgm:pt>
    <dgm:pt modelId="{89060D7E-822E-4C10-9455-B0E2CF63DF2C}" type="pres">
      <dgm:prSet presAssocID="{98485B0B-0BEF-4B09-9F4E-DABE19188B7F}" presName="rootText" presStyleLbl="node2" presStyleIdx="3" presStyleCnt="4" custLinFactNeighborX="-3422" custLinFactNeighborY="66224">
        <dgm:presLayoutVars>
          <dgm:chPref val="3"/>
        </dgm:presLayoutVars>
      </dgm:prSet>
      <dgm:spPr/>
    </dgm:pt>
    <dgm:pt modelId="{B8A3BCDF-3643-459D-B7E7-A685AE4C1AC8}" type="pres">
      <dgm:prSet presAssocID="{98485B0B-0BEF-4B09-9F4E-DABE19188B7F}" presName="rootConnector" presStyleLbl="node2" presStyleIdx="3" presStyleCnt="4"/>
      <dgm:spPr/>
    </dgm:pt>
    <dgm:pt modelId="{287F85FE-FEA8-47BD-9C7A-79F48C2301E8}" type="pres">
      <dgm:prSet presAssocID="{98485B0B-0BEF-4B09-9F4E-DABE19188B7F}" presName="hierChild4" presStyleCnt="0"/>
      <dgm:spPr/>
    </dgm:pt>
    <dgm:pt modelId="{04F43456-6203-495C-9147-B441D31A4870}" type="pres">
      <dgm:prSet presAssocID="{98485B0B-0BEF-4B09-9F4E-DABE19188B7F}" presName="hierChild5" presStyleCnt="0"/>
      <dgm:spPr/>
    </dgm:pt>
    <dgm:pt modelId="{0E819307-1B4E-434E-BA76-D5A4192B0663}" type="pres">
      <dgm:prSet presAssocID="{47C757F0-AA23-46BE-9311-EA432CDEEAA1}" presName="hierChild3" presStyleCnt="0"/>
      <dgm:spPr/>
    </dgm:pt>
  </dgm:ptLst>
  <dgm:cxnLst>
    <dgm:cxn modelId="{55730A01-C5B5-48CD-9EAB-42D3D4B8E956}" type="presOf" srcId="{98485B0B-0BEF-4B09-9F4E-DABE19188B7F}" destId="{B8A3BCDF-3643-459D-B7E7-A685AE4C1AC8}" srcOrd="2" destOrd="0" presId="urn:microsoft.com/office/officeart/2005/8/layout/orgChart1#1"/>
    <dgm:cxn modelId="{1D65B005-4B68-41D4-B731-37B529660E58}" type="presOf" srcId="{206F77BC-8A8C-400E-B5C6-E570809A12E8}" destId="{584CD90E-BC25-40D9-BEBE-272B942CB872}" srcOrd="0" destOrd="0" presId="urn:microsoft.com/office/officeart/2005/8/layout/orgChart1#1"/>
    <dgm:cxn modelId="{CA5D730F-9B74-444A-823A-4E1089816E3D}" type="presOf" srcId="{CCF68ADE-40B6-47D0-93C1-88EC13ADC8AC}" destId="{AB3A8128-6C86-49B7-B5CC-0153888815E5}" srcOrd="0" destOrd="0" presId="urn:microsoft.com/office/officeart/2005/8/layout/orgChart1#1"/>
    <dgm:cxn modelId="{DF7EFD13-6D1B-4E3E-98BF-5A143ED90958}" type="presOf" srcId="{2F003BCF-431C-412D-A6F6-8F6D4EFA53E7}" destId="{F9BF79BF-9870-4614-9CA6-441BB6630F56}" srcOrd="1" destOrd="0" presId="urn:microsoft.com/office/officeart/2005/8/layout/orgChart1#1"/>
    <dgm:cxn modelId="{E6DB661A-8AB5-4740-98CD-E6CC5028D132}" type="presOf" srcId="{98485B0B-0BEF-4B09-9F4E-DABE19188B7F}" destId="{89060D7E-822E-4C10-9455-B0E2CF63DF2C}" srcOrd="1" destOrd="0" presId="urn:microsoft.com/office/officeart/2005/8/layout/orgChart1#1"/>
    <dgm:cxn modelId="{86771530-8994-480F-9369-7285D0E4DD70}" type="presOf" srcId="{47C757F0-AA23-46BE-9311-EA432CDEEAA1}" destId="{86420519-308D-4A6A-8FEA-6FB2E39BA448}" srcOrd="2" destOrd="0" presId="urn:microsoft.com/office/officeart/2005/8/layout/orgChart1#1"/>
    <dgm:cxn modelId="{68E48A32-CB2E-43DE-B109-0A9CA3FCA1C5}" srcId="{A77D31B3-3808-4FBA-8FA4-CC8D448A173E}" destId="{47C757F0-AA23-46BE-9311-EA432CDEEAA1}" srcOrd="0" destOrd="0" parTransId="{AB39B06D-FE6C-48B2-B5B4-77CD0C8CF7AD}" sibTransId="{DF0D1C21-B79E-4875-B7FA-EF183CB48B88}"/>
    <dgm:cxn modelId="{EC197E36-A3F0-4584-92ED-A83A00609E85}" srcId="{47C757F0-AA23-46BE-9311-EA432CDEEAA1}" destId="{98485B0B-0BEF-4B09-9F4E-DABE19188B7F}" srcOrd="3" destOrd="0" parTransId="{C6898E63-F562-42AA-BD26-4F5810CCECE8}" sibTransId="{A5D9CE0C-65E8-40FF-8861-44B0BA6DB178}"/>
    <dgm:cxn modelId="{B32D593F-22A6-4E18-9DAA-FE5486922D60}" type="presOf" srcId="{C6898E63-F562-42AA-BD26-4F5810CCECE8}" destId="{67E2D22C-841A-42D7-B70A-68BAE7728FB5}" srcOrd="0" destOrd="0" presId="urn:microsoft.com/office/officeart/2005/8/layout/orgChart1#1"/>
    <dgm:cxn modelId="{E2175C63-8D52-4A93-9B6D-DF5FAA2FE8B0}" srcId="{47C757F0-AA23-46BE-9311-EA432CDEEAA1}" destId="{2F003BCF-431C-412D-A6F6-8F6D4EFA53E7}" srcOrd="1" destOrd="0" parTransId="{206F77BC-8A8C-400E-B5C6-E570809A12E8}" sibTransId="{DE777C9D-8743-4283-A6B1-88123756814E}"/>
    <dgm:cxn modelId="{2C53A66E-BA63-40D7-AC2F-92FCE4C521D6}" type="presOf" srcId="{47C757F0-AA23-46BE-9311-EA432CDEEAA1}" destId="{79147750-B6BF-43FD-83A0-7ACDC9B53EFF}" srcOrd="0" destOrd="0" presId="urn:microsoft.com/office/officeart/2005/8/layout/orgChart1#1"/>
    <dgm:cxn modelId="{30BEF150-2028-484D-9EE3-BE03B031EA24}" type="presOf" srcId="{2F003BCF-431C-412D-A6F6-8F6D4EFA53E7}" destId="{DBEED356-0F77-4597-8A2D-1A726BB941E4}" srcOrd="2" destOrd="0" presId="urn:microsoft.com/office/officeart/2005/8/layout/orgChart1#1"/>
    <dgm:cxn modelId="{3792B756-250F-44EE-AD2F-4C907323F1B8}" srcId="{47C757F0-AA23-46BE-9311-EA432CDEEAA1}" destId="{CF717C8A-B40B-4AFF-BF49-65ABB7DF8190}" srcOrd="2" destOrd="0" parTransId="{CCF68ADE-40B6-47D0-93C1-88EC13ADC8AC}" sibTransId="{630D3E0B-D1D7-4E1A-8193-515AA5E1866F}"/>
    <dgm:cxn modelId="{FAC48194-8E74-4971-94B8-F33E75CAFF55}" type="presOf" srcId="{4EC42421-831D-4CD3-8215-2AF4300F9C01}" destId="{6CAD9CE6-86A1-4F7D-98A6-3AF53F55F9E3}" srcOrd="0" destOrd="0" presId="urn:microsoft.com/office/officeart/2005/8/layout/orgChart1#1"/>
    <dgm:cxn modelId="{CB5315A3-A2DE-4F0C-91E0-8A0DC836FCF2}" type="presOf" srcId="{8D5FB264-0A5C-4C3A-85B7-453D9BD837DF}" destId="{F492B679-3C8C-4E72-95A8-8B81298826E7}" srcOrd="0" destOrd="0" presId="urn:microsoft.com/office/officeart/2005/8/layout/orgChart1#1"/>
    <dgm:cxn modelId="{4CD11BAA-70D3-47D7-9B88-06DD22D50C62}" type="presOf" srcId="{CF717C8A-B40B-4AFF-BF49-65ABB7DF8190}" destId="{FA949B67-3DB7-47FA-97C9-4A653E762F22}" srcOrd="0" destOrd="0" presId="urn:microsoft.com/office/officeart/2005/8/layout/orgChart1#1"/>
    <dgm:cxn modelId="{74A2BFAE-90F7-41AD-A14D-2F2AA5AAD065}" type="presOf" srcId="{CF717C8A-B40B-4AFF-BF49-65ABB7DF8190}" destId="{5667CB49-EC34-46BC-AD2D-72F3BD95D049}" srcOrd="2" destOrd="0" presId="urn:microsoft.com/office/officeart/2005/8/layout/orgChart1#1"/>
    <dgm:cxn modelId="{28C241B3-03B7-45A4-BDB8-3522D68C46EE}" type="presOf" srcId="{47C757F0-AA23-46BE-9311-EA432CDEEAA1}" destId="{AE79172D-D441-42BB-84EA-E3D989670DED}" srcOrd="1" destOrd="0" presId="urn:microsoft.com/office/officeart/2005/8/layout/orgChart1#1"/>
    <dgm:cxn modelId="{8B68F5C1-8D52-48F4-9C37-34711CCD33FD}" type="presOf" srcId="{4EC42421-831D-4CD3-8215-2AF4300F9C01}" destId="{08A0D1D2-3A20-4D63-8E35-B7C8B6B16D48}" srcOrd="1" destOrd="0" presId="urn:microsoft.com/office/officeart/2005/8/layout/orgChart1#1"/>
    <dgm:cxn modelId="{FBEFC0D4-CCAD-4A68-ACF7-7106C9118E33}" srcId="{47C757F0-AA23-46BE-9311-EA432CDEEAA1}" destId="{4EC42421-831D-4CD3-8215-2AF4300F9C01}" srcOrd="0" destOrd="0" parTransId="{8D5FB264-0A5C-4C3A-85B7-453D9BD837DF}" sibTransId="{A1825131-D805-48C8-BFCE-E45C02E6F5CE}"/>
    <dgm:cxn modelId="{4097ECE1-7197-41EF-9D47-E34BBC6C4986}" type="presOf" srcId="{98485B0B-0BEF-4B09-9F4E-DABE19188B7F}" destId="{38BF995F-2D0A-4A68-A4BB-4C4C361D72B5}" srcOrd="0" destOrd="0" presId="urn:microsoft.com/office/officeart/2005/8/layout/orgChart1#1"/>
    <dgm:cxn modelId="{6C6960EE-7C6E-4D06-AA2A-50396F61A815}" type="presOf" srcId="{A77D31B3-3808-4FBA-8FA4-CC8D448A173E}" destId="{E498DC9C-C5AC-4482-A26F-3B99DC5D79F0}" srcOrd="0" destOrd="0" presId="urn:microsoft.com/office/officeart/2005/8/layout/orgChart1#1"/>
    <dgm:cxn modelId="{222A56EF-70F2-4FEE-B6A1-8536C3FAB4B6}" type="presOf" srcId="{2F003BCF-431C-412D-A6F6-8F6D4EFA53E7}" destId="{9025D6BD-D58C-4123-92E1-6595C57575ED}" srcOrd="0" destOrd="0" presId="urn:microsoft.com/office/officeart/2005/8/layout/orgChart1#1"/>
    <dgm:cxn modelId="{513310F1-F524-443E-8814-228A83C3FC36}" type="presOf" srcId="{4EC42421-831D-4CD3-8215-2AF4300F9C01}" destId="{6238C53E-A961-488B-8FBD-6EC13507B069}" srcOrd="2" destOrd="0" presId="urn:microsoft.com/office/officeart/2005/8/layout/orgChart1#1"/>
    <dgm:cxn modelId="{94BE77F6-CF76-4DE7-8D5A-277636825447}" type="presOf" srcId="{CF717C8A-B40B-4AFF-BF49-65ABB7DF8190}" destId="{7D64F4A3-0E55-47AC-A59B-9D5A9DC25552}" srcOrd="1" destOrd="0" presId="urn:microsoft.com/office/officeart/2005/8/layout/orgChart1#1"/>
    <dgm:cxn modelId="{2845CD10-DA0C-482D-A8E7-1BBD1580AEE8}" type="presParOf" srcId="{E498DC9C-C5AC-4482-A26F-3B99DC5D79F0}" destId="{F728C3E8-5128-4BB6-90CC-A86769ECE335}" srcOrd="0" destOrd="0" presId="urn:microsoft.com/office/officeart/2005/8/layout/orgChart1#1"/>
    <dgm:cxn modelId="{57882B8A-F07F-48DF-A779-D28E8CAE7942}" type="presParOf" srcId="{F728C3E8-5128-4BB6-90CC-A86769ECE335}" destId="{79147750-B6BF-43FD-83A0-7ACDC9B53EFF}" srcOrd="0" destOrd="0" presId="urn:microsoft.com/office/officeart/2005/8/layout/orgChart1#1"/>
    <dgm:cxn modelId="{8A84571B-422D-4C88-9A5D-831D09AEF3A1}" type="presParOf" srcId="{79147750-B6BF-43FD-83A0-7ACDC9B53EFF}" destId="{AE79172D-D441-42BB-84EA-E3D989670DED}" srcOrd="0" destOrd="0" presId="urn:microsoft.com/office/officeart/2005/8/layout/orgChart1#1"/>
    <dgm:cxn modelId="{2369CBB4-8FB1-4A61-BC04-E956AA873AE2}" type="presParOf" srcId="{79147750-B6BF-43FD-83A0-7ACDC9B53EFF}" destId="{86420519-308D-4A6A-8FEA-6FB2E39BA448}" srcOrd="1" destOrd="0" presId="urn:microsoft.com/office/officeart/2005/8/layout/orgChart1#1"/>
    <dgm:cxn modelId="{8D6F0B42-5E6A-428C-AF21-07A1E7E8A3F1}" type="presParOf" srcId="{F728C3E8-5128-4BB6-90CC-A86769ECE335}" destId="{9A0FF10C-81C7-47CD-A320-768F2009480B}" srcOrd="1" destOrd="0" presId="urn:microsoft.com/office/officeart/2005/8/layout/orgChart1#1"/>
    <dgm:cxn modelId="{FAB20B56-5F8B-422E-8A64-CA98E769127F}" type="presParOf" srcId="{9A0FF10C-81C7-47CD-A320-768F2009480B}" destId="{F492B679-3C8C-4E72-95A8-8B81298826E7}" srcOrd="0" destOrd="0" presId="urn:microsoft.com/office/officeart/2005/8/layout/orgChart1#1"/>
    <dgm:cxn modelId="{2BB0D13F-328A-498E-978A-C7D06A0A830A}" type="presParOf" srcId="{9A0FF10C-81C7-47CD-A320-768F2009480B}" destId="{C6F584B9-7EA2-46D8-913B-8F508509ECAB}" srcOrd="1" destOrd="0" presId="urn:microsoft.com/office/officeart/2005/8/layout/orgChart1#1"/>
    <dgm:cxn modelId="{6476DD21-050E-4082-9E30-7FA4F42E109D}" type="presParOf" srcId="{C6F584B9-7EA2-46D8-913B-8F508509ECAB}" destId="{6CAD9CE6-86A1-4F7D-98A6-3AF53F55F9E3}" srcOrd="0" destOrd="0" presId="urn:microsoft.com/office/officeart/2005/8/layout/orgChart1#1"/>
    <dgm:cxn modelId="{12964978-0AE1-4822-A92D-4D9457DF3387}" type="presParOf" srcId="{6CAD9CE6-86A1-4F7D-98A6-3AF53F55F9E3}" destId="{08A0D1D2-3A20-4D63-8E35-B7C8B6B16D48}" srcOrd="0" destOrd="0" presId="urn:microsoft.com/office/officeart/2005/8/layout/orgChart1#1"/>
    <dgm:cxn modelId="{F72C375E-D42A-4395-8B56-711C1D657CEF}" type="presParOf" srcId="{6CAD9CE6-86A1-4F7D-98A6-3AF53F55F9E3}" destId="{6238C53E-A961-488B-8FBD-6EC13507B069}" srcOrd="1" destOrd="0" presId="urn:microsoft.com/office/officeart/2005/8/layout/orgChart1#1"/>
    <dgm:cxn modelId="{CA69A3A3-8AB3-4132-A603-128E03D2BCEF}" type="presParOf" srcId="{C6F584B9-7EA2-46D8-913B-8F508509ECAB}" destId="{A9C46FD3-3BE9-4E6E-BFF6-B0B42B13F857}" srcOrd="1" destOrd="0" presId="urn:microsoft.com/office/officeart/2005/8/layout/orgChart1#1"/>
    <dgm:cxn modelId="{07B6A1AA-5B2E-4855-8815-824CD7FD7FAC}" type="presParOf" srcId="{C6F584B9-7EA2-46D8-913B-8F508509ECAB}" destId="{A663BBFB-A120-4F5B-82EC-DB644DB9966B}" srcOrd="2" destOrd="0" presId="urn:microsoft.com/office/officeart/2005/8/layout/orgChart1#1"/>
    <dgm:cxn modelId="{517C2F75-DAFF-46FC-9B05-281926595065}" type="presParOf" srcId="{9A0FF10C-81C7-47CD-A320-768F2009480B}" destId="{584CD90E-BC25-40D9-BEBE-272B942CB872}" srcOrd="2" destOrd="0" presId="urn:microsoft.com/office/officeart/2005/8/layout/orgChart1#1"/>
    <dgm:cxn modelId="{D20F76FE-CE00-47BC-BA83-BA5534813FF9}" type="presParOf" srcId="{9A0FF10C-81C7-47CD-A320-768F2009480B}" destId="{3569C1DC-29DA-44B4-B681-D7F109A3D5BB}" srcOrd="3" destOrd="0" presId="urn:microsoft.com/office/officeart/2005/8/layout/orgChart1#1"/>
    <dgm:cxn modelId="{6E8423C0-C534-423D-A13D-8D9C4D93C91E}" type="presParOf" srcId="{3569C1DC-29DA-44B4-B681-D7F109A3D5BB}" destId="{9025D6BD-D58C-4123-92E1-6595C57575ED}" srcOrd="0" destOrd="0" presId="urn:microsoft.com/office/officeart/2005/8/layout/orgChart1#1"/>
    <dgm:cxn modelId="{D93238CA-C3F8-48E7-9419-5FDF35E1F387}" type="presParOf" srcId="{9025D6BD-D58C-4123-92E1-6595C57575ED}" destId="{F9BF79BF-9870-4614-9CA6-441BB6630F56}" srcOrd="0" destOrd="0" presId="urn:microsoft.com/office/officeart/2005/8/layout/orgChart1#1"/>
    <dgm:cxn modelId="{9A8747D7-F2E7-47BD-8661-9F4B92DBDEF7}" type="presParOf" srcId="{9025D6BD-D58C-4123-92E1-6595C57575ED}" destId="{DBEED356-0F77-4597-8A2D-1A726BB941E4}" srcOrd="1" destOrd="0" presId="urn:microsoft.com/office/officeart/2005/8/layout/orgChart1#1"/>
    <dgm:cxn modelId="{AD082953-A2D4-48F6-870E-4658327468A3}" type="presParOf" srcId="{3569C1DC-29DA-44B4-B681-D7F109A3D5BB}" destId="{325DCB31-253B-4FB9-8F99-8038EB750182}" srcOrd="1" destOrd="0" presId="urn:microsoft.com/office/officeart/2005/8/layout/orgChart1#1"/>
    <dgm:cxn modelId="{AEDA0930-CF7E-4C25-9966-77B013563B4E}" type="presParOf" srcId="{3569C1DC-29DA-44B4-B681-D7F109A3D5BB}" destId="{AADFA53D-81AB-49EE-9AF4-CAAF8D585961}" srcOrd="2" destOrd="0" presId="urn:microsoft.com/office/officeart/2005/8/layout/orgChart1#1"/>
    <dgm:cxn modelId="{5F7F802A-FE93-4910-944A-FA081901F75C}" type="presParOf" srcId="{9A0FF10C-81C7-47CD-A320-768F2009480B}" destId="{AB3A8128-6C86-49B7-B5CC-0153888815E5}" srcOrd="4" destOrd="0" presId="urn:microsoft.com/office/officeart/2005/8/layout/orgChart1#1"/>
    <dgm:cxn modelId="{199F051D-AF81-4433-8572-A78ABFCFC7B7}" type="presParOf" srcId="{9A0FF10C-81C7-47CD-A320-768F2009480B}" destId="{1A917F9A-DDE6-4568-B35C-7FABCEF0A586}" srcOrd="5" destOrd="0" presId="urn:microsoft.com/office/officeart/2005/8/layout/orgChart1#1"/>
    <dgm:cxn modelId="{4F5EA0B2-DAEB-42E5-8A87-0A1044B43A5A}" type="presParOf" srcId="{1A917F9A-DDE6-4568-B35C-7FABCEF0A586}" destId="{FA949B67-3DB7-47FA-97C9-4A653E762F22}" srcOrd="0" destOrd="0" presId="urn:microsoft.com/office/officeart/2005/8/layout/orgChart1#1"/>
    <dgm:cxn modelId="{373B6D87-FA45-4182-BF82-0E3AE54D7827}" type="presParOf" srcId="{FA949B67-3DB7-47FA-97C9-4A653E762F22}" destId="{7D64F4A3-0E55-47AC-A59B-9D5A9DC25552}" srcOrd="0" destOrd="0" presId="urn:microsoft.com/office/officeart/2005/8/layout/orgChart1#1"/>
    <dgm:cxn modelId="{961A2B06-4522-4A36-853C-22D8BC1D3FB6}" type="presParOf" srcId="{FA949B67-3DB7-47FA-97C9-4A653E762F22}" destId="{5667CB49-EC34-46BC-AD2D-72F3BD95D049}" srcOrd="1" destOrd="0" presId="urn:microsoft.com/office/officeart/2005/8/layout/orgChart1#1"/>
    <dgm:cxn modelId="{1A7B4631-3E4D-45EB-92D9-0F0D7933C9F0}" type="presParOf" srcId="{1A917F9A-DDE6-4568-B35C-7FABCEF0A586}" destId="{EB3A10DA-2FA4-4DAD-8341-8078D7F83716}" srcOrd="1" destOrd="0" presId="urn:microsoft.com/office/officeart/2005/8/layout/orgChart1#1"/>
    <dgm:cxn modelId="{6E47EF6C-AE42-4359-AE39-F9FF3B128CD5}" type="presParOf" srcId="{1A917F9A-DDE6-4568-B35C-7FABCEF0A586}" destId="{B05C5608-85C8-433E-A928-1755312B673B}" srcOrd="2" destOrd="0" presId="urn:microsoft.com/office/officeart/2005/8/layout/orgChart1#1"/>
    <dgm:cxn modelId="{B9A94DC7-60DE-4D4F-9B26-F46267A84ED1}" type="presParOf" srcId="{9A0FF10C-81C7-47CD-A320-768F2009480B}" destId="{67E2D22C-841A-42D7-B70A-68BAE7728FB5}" srcOrd="6" destOrd="0" presId="urn:microsoft.com/office/officeart/2005/8/layout/orgChart1#1"/>
    <dgm:cxn modelId="{29A13489-56DE-4964-87BE-EBD7CDC87033}" type="presParOf" srcId="{9A0FF10C-81C7-47CD-A320-768F2009480B}" destId="{E2B6A01F-0B07-43D2-9371-9B443678BBA2}" srcOrd="7" destOrd="0" presId="urn:microsoft.com/office/officeart/2005/8/layout/orgChart1#1"/>
    <dgm:cxn modelId="{2C749D9A-120C-40C7-AB26-BDF7B4F53EB7}" type="presParOf" srcId="{E2B6A01F-0B07-43D2-9371-9B443678BBA2}" destId="{38BF995F-2D0A-4A68-A4BB-4C4C361D72B5}" srcOrd="0" destOrd="0" presId="urn:microsoft.com/office/officeart/2005/8/layout/orgChart1#1"/>
    <dgm:cxn modelId="{294370F0-3440-4C5B-A09C-5FF75EB78006}" type="presParOf" srcId="{38BF995F-2D0A-4A68-A4BB-4C4C361D72B5}" destId="{89060D7E-822E-4C10-9455-B0E2CF63DF2C}" srcOrd="0" destOrd="0" presId="urn:microsoft.com/office/officeart/2005/8/layout/orgChart1#1"/>
    <dgm:cxn modelId="{B1864B0B-6724-4E02-AB44-95AC779CE443}" type="presParOf" srcId="{38BF995F-2D0A-4A68-A4BB-4C4C361D72B5}" destId="{B8A3BCDF-3643-459D-B7E7-A685AE4C1AC8}" srcOrd="1" destOrd="0" presId="urn:microsoft.com/office/officeart/2005/8/layout/orgChart1#1"/>
    <dgm:cxn modelId="{5E2C99C9-CB85-4FC0-B682-D15F57F839C5}" type="presParOf" srcId="{E2B6A01F-0B07-43D2-9371-9B443678BBA2}" destId="{287F85FE-FEA8-47BD-9C7A-79F48C2301E8}" srcOrd="1" destOrd="0" presId="urn:microsoft.com/office/officeart/2005/8/layout/orgChart1#1"/>
    <dgm:cxn modelId="{CBEDC19F-BF06-423A-9E02-6E29D2048E27}" type="presParOf" srcId="{E2B6A01F-0B07-43D2-9371-9B443678BBA2}" destId="{04F43456-6203-495C-9147-B441D31A4870}" srcOrd="2" destOrd="0" presId="urn:microsoft.com/office/officeart/2005/8/layout/orgChart1#1"/>
    <dgm:cxn modelId="{DED5255C-A205-4CB9-BA7B-C11C8B32B77D}" type="presParOf" srcId="{F728C3E8-5128-4BB6-90CC-A86769ECE335}" destId="{0E819307-1B4E-434E-BA76-D5A4192B0663}" srcOrd="2" destOrd="0" presId="urn:microsoft.com/office/officeart/2005/8/layout/orgChart1#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4CA7B40-9EB7-4C77-8556-119F053A3BC1}" type="doc">
      <dgm:prSet loTypeId="urn:microsoft.com/office/officeart/2005/8/layout/process2" loCatId="process" qsTypeId="urn:microsoft.com/office/officeart/2005/8/quickstyle/simple1#3" qsCatId="simple" csTypeId="urn:microsoft.com/office/officeart/2005/8/colors/accent1_2#1" csCatId="accent1" phldr="1"/>
      <dgm:spPr/>
    </dgm:pt>
    <dgm:pt modelId="{7166A9DB-20D7-41DA-B6C7-4E91D46FE0EA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zh-CN" altLang="en-US" dirty="0"/>
        </a:p>
      </dgm:t>
    </dgm:pt>
    <dgm:pt modelId="{408890A2-EC03-4CB7-8006-30F7A6F0770D}" type="parTrans" cxnId="{6E6D95FC-9C97-4F1C-A3D3-BB51CDF6A29D}">
      <dgm:prSet/>
      <dgm:spPr/>
      <dgm:t>
        <a:bodyPr/>
        <a:lstStyle/>
        <a:p>
          <a:endParaRPr lang="zh-CN" altLang="en-US"/>
        </a:p>
      </dgm:t>
    </dgm:pt>
    <dgm:pt modelId="{581D0B67-AC66-4DBF-B99A-8C26BE060068}" type="sibTrans" cxnId="{6E6D95FC-9C97-4F1C-A3D3-BB51CDF6A29D}">
      <dgm:prSet/>
      <dgm:spPr/>
      <dgm:t>
        <a:bodyPr/>
        <a:lstStyle/>
        <a:p>
          <a:endParaRPr lang="zh-CN" altLang="en-US"/>
        </a:p>
      </dgm:t>
    </dgm:pt>
    <dgm:pt modelId="{7E3F7EC5-1729-4088-BB09-36E02E33A0BF}" type="pres">
      <dgm:prSet presAssocID="{A4CA7B40-9EB7-4C77-8556-119F053A3BC1}" presName="linearFlow" presStyleCnt="0">
        <dgm:presLayoutVars>
          <dgm:resizeHandles val="exact"/>
        </dgm:presLayoutVars>
      </dgm:prSet>
      <dgm:spPr/>
    </dgm:pt>
    <dgm:pt modelId="{E17E57AF-0587-449A-A755-B1B96DEF2BD2}" type="pres">
      <dgm:prSet presAssocID="{7166A9DB-20D7-41DA-B6C7-4E91D46FE0EA}" presName="node" presStyleLbl="node1" presStyleIdx="0" presStyleCnt="1">
        <dgm:presLayoutVars>
          <dgm:bulletEnabled val="1"/>
        </dgm:presLayoutVars>
      </dgm:prSet>
      <dgm:spPr/>
    </dgm:pt>
  </dgm:ptLst>
  <dgm:cxnLst>
    <dgm:cxn modelId="{00D45D2A-90BF-4BFD-A931-078F52D240D6}" type="presOf" srcId="{7166A9DB-20D7-41DA-B6C7-4E91D46FE0EA}" destId="{E17E57AF-0587-449A-A755-B1B96DEF2BD2}" srcOrd="0" destOrd="0" presId="urn:microsoft.com/office/officeart/2005/8/layout/process2"/>
    <dgm:cxn modelId="{92964790-4D6E-433C-B977-3A98CB9311F4}" type="presOf" srcId="{A4CA7B40-9EB7-4C77-8556-119F053A3BC1}" destId="{7E3F7EC5-1729-4088-BB09-36E02E33A0BF}" srcOrd="0" destOrd="0" presId="urn:microsoft.com/office/officeart/2005/8/layout/process2"/>
    <dgm:cxn modelId="{6E6D95FC-9C97-4F1C-A3D3-BB51CDF6A29D}" srcId="{A4CA7B40-9EB7-4C77-8556-119F053A3BC1}" destId="{7166A9DB-20D7-41DA-B6C7-4E91D46FE0EA}" srcOrd="0" destOrd="0" parTransId="{408890A2-EC03-4CB7-8006-30F7A6F0770D}" sibTransId="{581D0B67-AC66-4DBF-B99A-8C26BE060068}"/>
    <dgm:cxn modelId="{2FF060C2-F936-4CBA-BE70-2290D178E851}" type="presParOf" srcId="{7E3F7EC5-1729-4088-BB09-36E02E33A0BF}" destId="{E17E57AF-0587-449A-A755-B1B96DEF2BD2}" srcOrd="0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ECC35F0-40B5-460D-A737-FC2ACF235663}" type="doc">
      <dgm:prSet loTypeId="urn:microsoft.com/office/officeart/2005/8/layout/radial2#1" loCatId="relationship" qsTypeId="urn:microsoft.com/office/officeart/2005/8/quickstyle/simple1#4" qsCatId="simple" csTypeId="urn:microsoft.com/office/officeart/2005/8/colors/accent2_2#1" csCatId="accent1" phldr="0"/>
      <dgm:spPr/>
      <dgm:t>
        <a:bodyPr/>
        <a:lstStyle/>
        <a:p>
          <a:endParaRPr lang="zh-CN" altLang="en-US"/>
        </a:p>
      </dgm:t>
    </dgm:pt>
    <dgm:pt modelId="{5517B846-E84C-4864-89B5-1273D93BC899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/>
            <a:t>开源软件</a:t>
          </a:r>
        </a:p>
      </dgm:t>
    </dgm:pt>
    <dgm:pt modelId="{A2D4F7F4-4D7B-4483-B239-95405595478C}" type="parTrans" cxnId="{53B2BB4D-83F5-4CC3-B250-1E626D4BE63E}">
      <dgm:prSet/>
      <dgm:spPr/>
      <dgm:t>
        <a:bodyPr/>
        <a:lstStyle/>
        <a:p>
          <a:endParaRPr lang="zh-CN" altLang="en-US"/>
        </a:p>
      </dgm:t>
    </dgm:pt>
    <dgm:pt modelId="{2B544C9C-8E05-42F5-9212-6599E4B2ECE4}" type="sibTrans" cxnId="{53B2BB4D-83F5-4CC3-B250-1E626D4BE63E}">
      <dgm:prSet/>
      <dgm:spPr/>
      <dgm:t>
        <a:bodyPr/>
        <a:lstStyle/>
        <a:p>
          <a:endParaRPr lang="zh-CN" altLang="en-US"/>
        </a:p>
      </dgm:t>
    </dgm:pt>
    <dgm:pt modelId="{DCD7ECA2-2D44-4DD3-A485-E68F87783744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15000"/>
            </a:spcAft>
          </a:pPr>
          <a:endParaRPr lang="zh-CN" altLang="en-US"/>
        </a:p>
      </dgm:t>
    </dgm:pt>
    <dgm:pt modelId="{01D15587-7CA2-411A-BE30-B5D76E9735EB}" type="parTrans" cxnId="{53072B97-6906-4331-A811-5D0E0E562568}">
      <dgm:prSet/>
      <dgm:spPr/>
      <dgm:t>
        <a:bodyPr/>
        <a:lstStyle/>
        <a:p>
          <a:endParaRPr lang="zh-CN" altLang="en-US"/>
        </a:p>
      </dgm:t>
    </dgm:pt>
    <dgm:pt modelId="{D9EBDF9D-6177-42D1-A920-D45BC9B43FC5}" type="sibTrans" cxnId="{53072B97-6906-4331-A811-5D0E0E562568}">
      <dgm:prSet/>
      <dgm:spPr/>
      <dgm:t>
        <a:bodyPr/>
        <a:lstStyle/>
        <a:p>
          <a:endParaRPr lang="zh-CN" altLang="en-US"/>
        </a:p>
      </dgm:t>
    </dgm:pt>
    <dgm:pt modelId="{E400A229-425E-4517-A4E8-259BA4F1D641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/>
            <a:t>云计算</a:t>
          </a:r>
        </a:p>
      </dgm:t>
    </dgm:pt>
    <dgm:pt modelId="{744BE3E2-E194-42E7-941A-C0F41144EE1E}" type="parTrans" cxnId="{C24FCFD2-60F0-432A-8DE8-4FC717C6D701}">
      <dgm:prSet/>
      <dgm:spPr/>
      <dgm:t>
        <a:bodyPr/>
        <a:lstStyle/>
        <a:p>
          <a:endParaRPr lang="zh-CN" altLang="en-US"/>
        </a:p>
      </dgm:t>
    </dgm:pt>
    <dgm:pt modelId="{34CF2285-61E3-46B7-8454-DD4724942BE4}" type="sibTrans" cxnId="{C24FCFD2-60F0-432A-8DE8-4FC717C6D701}">
      <dgm:prSet/>
      <dgm:spPr/>
      <dgm:t>
        <a:bodyPr/>
        <a:lstStyle/>
        <a:p>
          <a:endParaRPr lang="zh-CN" altLang="en-US"/>
        </a:p>
      </dgm:t>
    </dgm:pt>
    <dgm:pt modelId="{919B0E3A-CDEA-42FC-B66E-397405DAE14B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15000"/>
            </a:spcAft>
          </a:pPr>
          <a:endParaRPr lang="zh-CN" altLang="en-US"/>
        </a:p>
      </dgm:t>
    </dgm:pt>
    <dgm:pt modelId="{765A7463-79A9-413A-8CAF-6C8736DF737E}" type="parTrans" cxnId="{CCE32EFE-D3C6-4461-B5C7-E9CCEDC50939}">
      <dgm:prSet/>
      <dgm:spPr/>
      <dgm:t>
        <a:bodyPr/>
        <a:lstStyle/>
        <a:p>
          <a:endParaRPr lang="zh-CN" altLang="en-US"/>
        </a:p>
      </dgm:t>
    </dgm:pt>
    <dgm:pt modelId="{80820266-7227-487E-A6BE-5F11438118AA}" type="sibTrans" cxnId="{CCE32EFE-D3C6-4461-B5C7-E9CCEDC50939}">
      <dgm:prSet/>
      <dgm:spPr/>
      <dgm:t>
        <a:bodyPr/>
        <a:lstStyle/>
        <a:p>
          <a:endParaRPr lang="zh-CN" altLang="en-US"/>
        </a:p>
      </dgm:t>
    </dgm:pt>
    <dgm:pt modelId="{E4931E8F-11B9-4A4A-B71C-F4F8CBF2A501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/>
            <a:t>前沿技术</a:t>
          </a:r>
        </a:p>
      </dgm:t>
    </dgm:pt>
    <dgm:pt modelId="{A8B9A657-6E7B-4ED3-AB00-98E9F913A785}" type="parTrans" cxnId="{C665F7BC-DA50-4DDD-B7D6-F232DFABA880}">
      <dgm:prSet/>
      <dgm:spPr/>
      <dgm:t>
        <a:bodyPr/>
        <a:lstStyle/>
        <a:p>
          <a:endParaRPr lang="zh-CN" altLang="en-US"/>
        </a:p>
      </dgm:t>
    </dgm:pt>
    <dgm:pt modelId="{18A58144-A08A-4AA2-87B4-A1B3BEF9B79D}" type="sibTrans" cxnId="{C665F7BC-DA50-4DDD-B7D6-F232DFABA880}">
      <dgm:prSet/>
      <dgm:spPr/>
      <dgm:t>
        <a:bodyPr/>
        <a:lstStyle/>
        <a:p>
          <a:endParaRPr lang="zh-CN" altLang="en-US"/>
        </a:p>
      </dgm:t>
    </dgm:pt>
    <dgm:pt modelId="{361BA5B7-354B-4EAC-B26A-B7FD60556191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15000"/>
            </a:spcAft>
          </a:pPr>
          <a:endParaRPr lang="zh-CN" altLang="en-US"/>
        </a:p>
      </dgm:t>
    </dgm:pt>
    <dgm:pt modelId="{207C86C1-8D3B-40C5-9EDC-2EE4D5F386D1}" type="parTrans" cxnId="{9853F826-1215-4352-88D2-F62EB0C7A98D}">
      <dgm:prSet/>
      <dgm:spPr/>
      <dgm:t>
        <a:bodyPr/>
        <a:lstStyle/>
        <a:p>
          <a:endParaRPr lang="zh-CN" altLang="en-US"/>
        </a:p>
      </dgm:t>
    </dgm:pt>
    <dgm:pt modelId="{E71CB000-DA61-41E3-8489-034910B917C4}" type="sibTrans" cxnId="{9853F826-1215-4352-88D2-F62EB0C7A98D}">
      <dgm:prSet/>
      <dgm:spPr/>
      <dgm:t>
        <a:bodyPr/>
        <a:lstStyle/>
        <a:p>
          <a:endParaRPr lang="zh-CN" altLang="en-US"/>
        </a:p>
      </dgm:t>
    </dgm:pt>
    <dgm:pt modelId="{68BD68BC-1A6F-4897-AE58-D220871191CC}" type="pres">
      <dgm:prSet presAssocID="{CECC35F0-40B5-460D-A737-FC2ACF235663}" presName="composite" presStyleCnt="0">
        <dgm:presLayoutVars>
          <dgm:chMax val="5"/>
          <dgm:dir/>
          <dgm:animLvl val="ctr"/>
          <dgm:resizeHandles val="exact"/>
        </dgm:presLayoutVars>
      </dgm:prSet>
      <dgm:spPr/>
    </dgm:pt>
    <dgm:pt modelId="{DF7CCDCB-1FEF-446D-879C-7B573A150A85}" type="pres">
      <dgm:prSet presAssocID="{CECC35F0-40B5-460D-A737-FC2ACF235663}" presName="cycle" presStyleCnt="0"/>
      <dgm:spPr/>
    </dgm:pt>
    <dgm:pt modelId="{42504826-0B2E-42B2-89E0-6C444D015311}" type="pres">
      <dgm:prSet presAssocID="{CECC35F0-40B5-460D-A737-FC2ACF235663}" presName="centerShape" presStyleCnt="0"/>
      <dgm:spPr/>
    </dgm:pt>
    <dgm:pt modelId="{85032AF7-CC0A-43B1-ADBC-12E888570430}" type="pres">
      <dgm:prSet presAssocID="{CECC35F0-40B5-460D-A737-FC2ACF235663}" presName="connSite" presStyleLbl="node1" presStyleIdx="0" presStyleCnt="4"/>
      <dgm:spPr/>
    </dgm:pt>
    <dgm:pt modelId="{CE974068-7363-48BA-8A56-58FC71B522DC}" type="pres">
      <dgm:prSet presAssocID="{CECC35F0-40B5-460D-A737-FC2ACF235663}" presName="visible" presStyleLbl="node1" presStyleIdx="0" presStyleCnt="4"/>
      <dgm:spPr/>
    </dgm:pt>
    <dgm:pt modelId="{CFE719B1-FDDF-4968-9D26-52CE098EA344}" type="pres">
      <dgm:prSet presAssocID="{A2D4F7F4-4D7B-4483-B239-95405595478C}" presName="Name25" presStyleLbl="parChTrans1D1" presStyleIdx="0" presStyleCnt="3"/>
      <dgm:spPr/>
    </dgm:pt>
    <dgm:pt modelId="{269D1A46-C3B2-412B-A63B-90077459CAEC}" type="pres">
      <dgm:prSet presAssocID="{5517B846-E84C-4864-89B5-1273D93BC899}" presName="node" presStyleCnt="0"/>
      <dgm:spPr/>
    </dgm:pt>
    <dgm:pt modelId="{B9FD9A9B-F5B2-41C6-AA4C-23B98CB4FBF3}" type="pres">
      <dgm:prSet presAssocID="{5517B846-E84C-4864-89B5-1273D93BC899}" presName="parentNode" presStyleLbl="node1" presStyleIdx="1" presStyleCnt="4">
        <dgm:presLayoutVars>
          <dgm:chMax val="1"/>
          <dgm:bulletEnabled val="1"/>
        </dgm:presLayoutVars>
      </dgm:prSet>
      <dgm:spPr/>
    </dgm:pt>
    <dgm:pt modelId="{4B22126E-6F7A-4ADB-A489-ACBD46EA330A}" type="pres">
      <dgm:prSet presAssocID="{5517B846-E84C-4864-89B5-1273D93BC899}" presName="childNode" presStyleLbl="revTx" presStyleIdx="0" presStyleCnt="3">
        <dgm:presLayoutVars>
          <dgm:bulletEnabled val="1"/>
        </dgm:presLayoutVars>
      </dgm:prSet>
      <dgm:spPr/>
    </dgm:pt>
    <dgm:pt modelId="{DB5F8B40-7FFB-4BF2-AB97-4DD23BBB3CB3}" type="pres">
      <dgm:prSet presAssocID="{744BE3E2-E194-42E7-941A-C0F41144EE1E}" presName="Name25" presStyleLbl="parChTrans1D1" presStyleIdx="1" presStyleCnt="3"/>
      <dgm:spPr/>
    </dgm:pt>
    <dgm:pt modelId="{66D0D311-5AB8-4EC8-ABBC-B19EB1C7F0C4}" type="pres">
      <dgm:prSet presAssocID="{E400A229-425E-4517-A4E8-259BA4F1D641}" presName="node" presStyleCnt="0"/>
      <dgm:spPr/>
    </dgm:pt>
    <dgm:pt modelId="{8C52F264-3E24-4EC4-9000-82B4D521C9E0}" type="pres">
      <dgm:prSet presAssocID="{E400A229-425E-4517-A4E8-259BA4F1D641}" presName="parentNode" presStyleLbl="node1" presStyleIdx="2" presStyleCnt="4">
        <dgm:presLayoutVars>
          <dgm:chMax val="1"/>
          <dgm:bulletEnabled val="1"/>
        </dgm:presLayoutVars>
      </dgm:prSet>
      <dgm:spPr/>
    </dgm:pt>
    <dgm:pt modelId="{22A9452E-DB9D-4347-9D41-D29067BCCCC1}" type="pres">
      <dgm:prSet presAssocID="{E400A229-425E-4517-A4E8-259BA4F1D641}" presName="childNode" presStyleLbl="revTx" presStyleIdx="1" presStyleCnt="3">
        <dgm:presLayoutVars>
          <dgm:bulletEnabled val="1"/>
        </dgm:presLayoutVars>
      </dgm:prSet>
      <dgm:spPr/>
    </dgm:pt>
    <dgm:pt modelId="{863C0671-E2AB-40BD-AF6E-9FA09F369FF0}" type="pres">
      <dgm:prSet presAssocID="{A8B9A657-6E7B-4ED3-AB00-98E9F913A785}" presName="Name25" presStyleLbl="parChTrans1D1" presStyleIdx="2" presStyleCnt="3"/>
      <dgm:spPr/>
    </dgm:pt>
    <dgm:pt modelId="{A2B55D64-F506-4444-9F04-08EB2F045FE5}" type="pres">
      <dgm:prSet presAssocID="{E4931E8F-11B9-4A4A-B71C-F4F8CBF2A501}" presName="node" presStyleCnt="0"/>
      <dgm:spPr/>
    </dgm:pt>
    <dgm:pt modelId="{A4594B93-3116-410F-A9B6-83291B1F28AD}" type="pres">
      <dgm:prSet presAssocID="{E4931E8F-11B9-4A4A-B71C-F4F8CBF2A501}" presName="parentNode" presStyleLbl="node1" presStyleIdx="3" presStyleCnt="4">
        <dgm:presLayoutVars>
          <dgm:chMax val="1"/>
          <dgm:bulletEnabled val="1"/>
        </dgm:presLayoutVars>
      </dgm:prSet>
      <dgm:spPr/>
    </dgm:pt>
    <dgm:pt modelId="{A27E8F25-3FF6-4BDB-AC60-BAC2D7C34B3C}" type="pres">
      <dgm:prSet presAssocID="{E4931E8F-11B9-4A4A-B71C-F4F8CBF2A501}" presName="childNode" presStyleLbl="revTx" presStyleIdx="2" presStyleCnt="3">
        <dgm:presLayoutVars>
          <dgm:bulletEnabled val="1"/>
        </dgm:presLayoutVars>
      </dgm:prSet>
      <dgm:spPr/>
    </dgm:pt>
  </dgm:ptLst>
  <dgm:cxnLst>
    <dgm:cxn modelId="{ABE9AC19-38B2-4AFA-92D4-B32F6ACCE78A}" type="presOf" srcId="{5517B846-E84C-4864-89B5-1273D93BC899}" destId="{42504826-0B2E-42B2-89E0-6C444D015311}" srcOrd="0" destOrd="0" presId="urn:microsoft.com/office/officeart/2005/8/layout/radial2#1"/>
    <dgm:cxn modelId="{9853F826-1215-4352-88D2-F62EB0C7A98D}" srcId="{E4931E8F-11B9-4A4A-B71C-F4F8CBF2A501}" destId="{361BA5B7-354B-4EAC-B26A-B7FD60556191}" srcOrd="0" destOrd="0" parTransId="{207C86C1-8D3B-40C5-9EDC-2EE4D5F386D1}" sibTransId="{E71CB000-DA61-41E3-8489-034910B917C4}"/>
    <dgm:cxn modelId="{382A6134-196A-43AF-8EB9-2F2F2ECEE3C1}" type="presOf" srcId="{A8B9A657-6E7B-4ED3-AB00-98E9F913A785}" destId="{863C0671-E2AB-40BD-AF6E-9FA09F369FF0}" srcOrd="0" destOrd="0" presId="urn:microsoft.com/office/officeart/2005/8/layout/radial2#1"/>
    <dgm:cxn modelId="{1CBEFF35-0AC8-49ED-A4A4-D7E9B902D979}" type="presOf" srcId="{5517B846-E84C-4864-89B5-1273D93BC899}" destId="{B9FD9A9B-F5B2-41C6-AA4C-23B98CB4FBF3}" srcOrd="1" destOrd="0" presId="urn:microsoft.com/office/officeart/2005/8/layout/radial2#1"/>
    <dgm:cxn modelId="{5DA3E444-69B8-4BC0-859A-9EBEA6DE5649}" type="presOf" srcId="{361BA5B7-354B-4EAC-B26A-B7FD60556191}" destId="{A27E8F25-3FF6-4BDB-AC60-BAC2D7C34B3C}" srcOrd="0" destOrd="0" presId="urn:microsoft.com/office/officeart/2005/8/layout/radial2#1"/>
    <dgm:cxn modelId="{ABCBFE68-2C13-4444-AB7F-0B6517DDC199}" type="presOf" srcId="{919B0E3A-CDEA-42FC-B66E-397405DAE14B}" destId="{22A9452E-DB9D-4347-9D41-D29067BCCCC1}" srcOrd="0" destOrd="0" presId="urn:microsoft.com/office/officeart/2005/8/layout/radial2#1"/>
    <dgm:cxn modelId="{5C1EAB4A-7FCF-4BBA-B6BD-872E8BCE76D3}" type="presOf" srcId="{CECC35F0-40B5-460D-A737-FC2ACF235663}" destId="{68BD68BC-1A6F-4897-AE58-D220871191CC}" srcOrd="0" destOrd="0" presId="urn:microsoft.com/office/officeart/2005/8/layout/radial2#1"/>
    <dgm:cxn modelId="{53B2BB4D-83F5-4CC3-B250-1E626D4BE63E}" srcId="{CECC35F0-40B5-460D-A737-FC2ACF235663}" destId="{5517B846-E84C-4864-89B5-1273D93BC899}" srcOrd="0" destOrd="0" parTransId="{A2D4F7F4-4D7B-4483-B239-95405595478C}" sibTransId="{2B544C9C-8E05-42F5-9212-6599E4B2ECE4}"/>
    <dgm:cxn modelId="{53072B97-6906-4331-A811-5D0E0E562568}" srcId="{5517B846-E84C-4864-89B5-1273D93BC899}" destId="{DCD7ECA2-2D44-4DD3-A485-E68F87783744}" srcOrd="0" destOrd="0" parTransId="{01D15587-7CA2-411A-BE30-B5D76E9735EB}" sibTransId="{D9EBDF9D-6177-42D1-A920-D45BC9B43FC5}"/>
    <dgm:cxn modelId="{68648999-13B1-4E5B-B370-97CEE46229FE}" type="presOf" srcId="{A2D4F7F4-4D7B-4483-B239-95405595478C}" destId="{CFE719B1-FDDF-4968-9D26-52CE098EA344}" srcOrd="0" destOrd="0" presId="urn:microsoft.com/office/officeart/2005/8/layout/radial2#1"/>
    <dgm:cxn modelId="{C665F7BC-DA50-4DDD-B7D6-F232DFABA880}" srcId="{CECC35F0-40B5-460D-A737-FC2ACF235663}" destId="{E4931E8F-11B9-4A4A-B71C-F4F8CBF2A501}" srcOrd="2" destOrd="0" parTransId="{A8B9A657-6E7B-4ED3-AB00-98E9F913A785}" sibTransId="{18A58144-A08A-4AA2-87B4-A1B3BEF9B79D}"/>
    <dgm:cxn modelId="{5F1CA2C0-7416-4790-B259-0D4AD123E81B}" type="presOf" srcId="{E4931E8F-11B9-4A4A-B71C-F4F8CBF2A501}" destId="{A4594B93-3116-410F-A9B6-83291B1F28AD}" srcOrd="0" destOrd="0" presId="urn:microsoft.com/office/officeart/2005/8/layout/radial2#1"/>
    <dgm:cxn modelId="{3BA920C1-5D28-4555-AA6B-70F05B4DCE28}" type="presOf" srcId="{E400A229-425E-4517-A4E8-259BA4F1D641}" destId="{8C52F264-3E24-4EC4-9000-82B4D521C9E0}" srcOrd="0" destOrd="0" presId="urn:microsoft.com/office/officeart/2005/8/layout/radial2#1"/>
    <dgm:cxn modelId="{C24FCFD2-60F0-432A-8DE8-4FC717C6D701}" srcId="{CECC35F0-40B5-460D-A737-FC2ACF235663}" destId="{E400A229-425E-4517-A4E8-259BA4F1D641}" srcOrd="1" destOrd="0" parTransId="{744BE3E2-E194-42E7-941A-C0F41144EE1E}" sibTransId="{34CF2285-61E3-46B7-8454-DD4724942BE4}"/>
    <dgm:cxn modelId="{9573B2DB-66AA-47CC-A2D1-29309AA099DC}" type="presOf" srcId="{744BE3E2-E194-42E7-941A-C0F41144EE1E}" destId="{DB5F8B40-7FFB-4BF2-AB97-4DD23BBB3CB3}" srcOrd="0" destOrd="0" presId="urn:microsoft.com/office/officeart/2005/8/layout/radial2#1"/>
    <dgm:cxn modelId="{3CCFFCF6-3C57-4FE5-8FE7-4345215BE0DB}" type="presOf" srcId="{DCD7ECA2-2D44-4DD3-A485-E68F87783744}" destId="{4B22126E-6F7A-4ADB-A489-ACBD46EA330A}" srcOrd="0" destOrd="0" presId="urn:microsoft.com/office/officeart/2005/8/layout/radial2#1"/>
    <dgm:cxn modelId="{CCE32EFE-D3C6-4461-B5C7-E9CCEDC50939}" srcId="{E400A229-425E-4517-A4E8-259BA4F1D641}" destId="{919B0E3A-CDEA-42FC-B66E-397405DAE14B}" srcOrd="0" destOrd="0" parTransId="{765A7463-79A9-413A-8CAF-6C8736DF737E}" sibTransId="{80820266-7227-487E-A6BE-5F11438118AA}"/>
    <dgm:cxn modelId="{3CE6E856-7BB8-44DC-8902-044C86C5946F}" type="presParOf" srcId="{68BD68BC-1A6F-4897-AE58-D220871191CC}" destId="{DF7CCDCB-1FEF-446D-879C-7B573A150A85}" srcOrd="0" destOrd="0" presId="urn:microsoft.com/office/officeart/2005/8/layout/radial2#1"/>
    <dgm:cxn modelId="{64FA57E5-6C12-459A-8D2B-5DA692F275EB}" type="presParOf" srcId="{DF7CCDCB-1FEF-446D-879C-7B573A150A85}" destId="{42504826-0B2E-42B2-89E0-6C444D015311}" srcOrd="0" destOrd="0" presId="urn:microsoft.com/office/officeart/2005/8/layout/radial2#1"/>
    <dgm:cxn modelId="{7102C2E8-4869-4511-A327-9D217C046F61}" type="presParOf" srcId="{42504826-0B2E-42B2-89E0-6C444D015311}" destId="{85032AF7-CC0A-43B1-ADBC-12E888570430}" srcOrd="0" destOrd="0" presId="urn:microsoft.com/office/officeart/2005/8/layout/radial2#1"/>
    <dgm:cxn modelId="{8CADE6DC-52FF-46EA-83B0-70640E371364}" type="presParOf" srcId="{42504826-0B2E-42B2-89E0-6C444D015311}" destId="{CE974068-7363-48BA-8A56-58FC71B522DC}" srcOrd="1" destOrd="0" presId="urn:microsoft.com/office/officeart/2005/8/layout/radial2#1"/>
    <dgm:cxn modelId="{38DDD15F-BAE4-4750-94B5-AF10289C2744}" type="presParOf" srcId="{DF7CCDCB-1FEF-446D-879C-7B573A150A85}" destId="{CFE719B1-FDDF-4968-9D26-52CE098EA344}" srcOrd="1" destOrd="0" presId="urn:microsoft.com/office/officeart/2005/8/layout/radial2#1"/>
    <dgm:cxn modelId="{D334DF1C-481A-4DF8-98AA-182D8DC12287}" type="presParOf" srcId="{DF7CCDCB-1FEF-446D-879C-7B573A150A85}" destId="{269D1A46-C3B2-412B-A63B-90077459CAEC}" srcOrd="2" destOrd="0" presId="urn:microsoft.com/office/officeart/2005/8/layout/radial2#1"/>
    <dgm:cxn modelId="{12FBD6DE-F81D-43DB-B206-77803DB1C16F}" type="presParOf" srcId="{269D1A46-C3B2-412B-A63B-90077459CAEC}" destId="{B9FD9A9B-F5B2-41C6-AA4C-23B98CB4FBF3}" srcOrd="0" destOrd="0" presId="urn:microsoft.com/office/officeart/2005/8/layout/radial2#1"/>
    <dgm:cxn modelId="{745C266A-B804-4BFF-93F1-BCBA4425DD69}" type="presParOf" srcId="{269D1A46-C3B2-412B-A63B-90077459CAEC}" destId="{4B22126E-6F7A-4ADB-A489-ACBD46EA330A}" srcOrd="1" destOrd="0" presId="urn:microsoft.com/office/officeart/2005/8/layout/radial2#1"/>
    <dgm:cxn modelId="{284A7EE0-3950-4A72-BD42-23993C704636}" type="presParOf" srcId="{DF7CCDCB-1FEF-446D-879C-7B573A150A85}" destId="{DB5F8B40-7FFB-4BF2-AB97-4DD23BBB3CB3}" srcOrd="3" destOrd="0" presId="urn:microsoft.com/office/officeart/2005/8/layout/radial2#1"/>
    <dgm:cxn modelId="{2D3BD35B-D6B1-4F62-B6BB-CD73C14442B3}" type="presParOf" srcId="{DF7CCDCB-1FEF-446D-879C-7B573A150A85}" destId="{66D0D311-5AB8-4EC8-ABBC-B19EB1C7F0C4}" srcOrd="4" destOrd="0" presId="urn:microsoft.com/office/officeart/2005/8/layout/radial2#1"/>
    <dgm:cxn modelId="{1E7D0C8D-BCF7-4782-9A5B-8C7FA9C27E64}" type="presParOf" srcId="{66D0D311-5AB8-4EC8-ABBC-B19EB1C7F0C4}" destId="{8C52F264-3E24-4EC4-9000-82B4D521C9E0}" srcOrd="0" destOrd="0" presId="urn:microsoft.com/office/officeart/2005/8/layout/radial2#1"/>
    <dgm:cxn modelId="{31407643-3080-43E7-93BA-4D00F52F1EA2}" type="presParOf" srcId="{66D0D311-5AB8-4EC8-ABBC-B19EB1C7F0C4}" destId="{22A9452E-DB9D-4347-9D41-D29067BCCCC1}" srcOrd="1" destOrd="0" presId="urn:microsoft.com/office/officeart/2005/8/layout/radial2#1"/>
    <dgm:cxn modelId="{90941CAE-F893-4DD1-AC00-1C0D8BC9F873}" type="presParOf" srcId="{DF7CCDCB-1FEF-446D-879C-7B573A150A85}" destId="{863C0671-E2AB-40BD-AF6E-9FA09F369FF0}" srcOrd="5" destOrd="0" presId="urn:microsoft.com/office/officeart/2005/8/layout/radial2#1"/>
    <dgm:cxn modelId="{74206CF4-B734-44CF-B71A-3BB0B2C0FD13}" type="presParOf" srcId="{DF7CCDCB-1FEF-446D-879C-7B573A150A85}" destId="{A2B55D64-F506-4444-9F04-08EB2F045FE5}" srcOrd="6" destOrd="0" presId="urn:microsoft.com/office/officeart/2005/8/layout/radial2#1"/>
    <dgm:cxn modelId="{0725313F-3AA6-4D70-94C4-329A96E13A9C}" type="presParOf" srcId="{A2B55D64-F506-4444-9F04-08EB2F045FE5}" destId="{A4594B93-3116-410F-A9B6-83291B1F28AD}" srcOrd="0" destOrd="0" presId="urn:microsoft.com/office/officeart/2005/8/layout/radial2#1"/>
    <dgm:cxn modelId="{73EA5413-0ECD-4FDF-B98F-FA4E96B4894F}" type="presParOf" srcId="{A2B55D64-F506-4444-9F04-08EB2F045FE5}" destId="{A27E8F25-3FF6-4BDB-AC60-BAC2D7C34B3C}" srcOrd="1" destOrd="0" presId="urn:microsoft.com/office/officeart/2005/8/layout/radial2#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D49E38-B053-4501-BD89-EB8E5A6A61CD}">
      <dsp:nvSpPr>
        <dsp:cNvPr id="0" name=""/>
        <dsp:cNvSpPr/>
      </dsp:nvSpPr>
      <dsp:spPr bwMode="white">
        <a:xfrm>
          <a:off x="1726642" y="1382626"/>
          <a:ext cx="3233664" cy="2156854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800" kern="1200" dirty="0"/>
        </a:p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800" kern="1200" dirty="0"/>
            <a:t>针对系统用户的可提供在线服务的一种系统，或指一个在线的评测系统。</a:t>
          </a:r>
          <a:endParaRPr lang="zh-CN" altLang="en-US" sz="1200" kern="1200" dirty="0"/>
        </a:p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200" kern="1200" dirty="0"/>
        </a:p>
      </dsp:txBody>
      <dsp:txXfrm>
        <a:off x="2244029" y="1382626"/>
        <a:ext cx="2716278" cy="2156854"/>
      </dsp:txXfrm>
    </dsp:sp>
    <dsp:sp modelId="{01119332-89A2-4784-81C1-FF89BAFEA3B2}">
      <dsp:nvSpPr>
        <dsp:cNvPr id="0" name=""/>
        <dsp:cNvSpPr/>
      </dsp:nvSpPr>
      <dsp:spPr bwMode="white">
        <a:xfrm>
          <a:off x="1726642" y="3539480"/>
          <a:ext cx="3233664" cy="2156854"/>
        </a:xfrm>
        <a:prstGeom prst="rect">
          <a:avLst/>
        </a:prstGeom>
        <a:solidFill>
          <a:schemeClr val="accent2">
            <a:tint val="40000"/>
            <a:alpha val="90000"/>
            <a:hueOff val="77590"/>
            <a:satOff val="2139"/>
            <a:lumOff val="-463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77590"/>
              <a:satOff val="2139"/>
              <a:lumOff val="-46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13792" rIns="113792" bIns="113792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600" kern="1200" dirty="0">
            <a:sym typeface="+mn-ea"/>
          </a:endParaRPr>
        </a:p>
      </dsp:txBody>
      <dsp:txXfrm>
        <a:off x="2244029" y="3539480"/>
        <a:ext cx="2716278" cy="2156854"/>
      </dsp:txXfrm>
    </dsp:sp>
    <dsp:sp modelId="{92447B8B-B043-4F04-A3B7-D0DE831D4431}">
      <dsp:nvSpPr>
        <dsp:cNvPr id="0" name=""/>
        <dsp:cNvSpPr/>
      </dsp:nvSpPr>
      <dsp:spPr bwMode="white">
        <a:xfrm>
          <a:off x="2021" y="520315"/>
          <a:ext cx="2155776" cy="2155776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300" kern="1200"/>
            <a:t>在线评测系统（online judge）</a:t>
          </a:r>
        </a:p>
      </dsp:txBody>
      <dsp:txXfrm>
        <a:off x="317727" y="836021"/>
        <a:ext cx="1524364" cy="1524364"/>
      </dsp:txXfrm>
    </dsp:sp>
    <dsp:sp modelId="{B4EA86C9-9645-41DF-AB1C-E026D8E8F43F}">
      <dsp:nvSpPr>
        <dsp:cNvPr id="0" name=""/>
        <dsp:cNvSpPr/>
      </dsp:nvSpPr>
      <dsp:spPr bwMode="white">
        <a:xfrm>
          <a:off x="7116083" y="1382626"/>
          <a:ext cx="3233664" cy="2156854"/>
        </a:xfrm>
        <a:prstGeom prst="rect">
          <a:avLst/>
        </a:prstGeom>
        <a:solidFill>
          <a:schemeClr val="accent2">
            <a:tint val="40000"/>
            <a:alpha val="90000"/>
            <a:hueOff val="155179"/>
            <a:satOff val="4277"/>
            <a:lumOff val="-927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155179"/>
              <a:satOff val="4277"/>
              <a:lumOff val="-92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9568" rIns="99568" bIns="99568" numCol="1" spcCol="1270" anchor="ctr" anchorCtr="0">
          <a:noAutofit/>
        </a:bodyPr>
        <a:lstStyle/>
        <a:p>
          <a:pPr marL="0" lvl="0" indent="0" algn="l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400" kern="1200" dirty="0"/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400" kern="1200" dirty="0"/>
            <a:t>	</a:t>
          </a:r>
        </a:p>
      </dsp:txBody>
      <dsp:txXfrm>
        <a:off x="7633470" y="1382626"/>
        <a:ext cx="2716278" cy="2156854"/>
      </dsp:txXfrm>
    </dsp:sp>
    <dsp:sp modelId="{9C36922A-5FA7-4B49-8BAB-B4B99DE5740F}">
      <dsp:nvSpPr>
        <dsp:cNvPr id="0" name=""/>
        <dsp:cNvSpPr/>
      </dsp:nvSpPr>
      <dsp:spPr bwMode="white">
        <a:xfrm>
          <a:off x="7116083" y="3539480"/>
          <a:ext cx="3233664" cy="2156854"/>
        </a:xfrm>
        <a:prstGeom prst="rect">
          <a:avLst/>
        </a:prstGeom>
        <a:solidFill>
          <a:schemeClr val="accent2">
            <a:tint val="40000"/>
            <a:alpha val="90000"/>
            <a:hueOff val="232769"/>
            <a:satOff val="6416"/>
            <a:lumOff val="-139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232769"/>
              <a:satOff val="6416"/>
              <a:lumOff val="-139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800" kern="1200" dirty="0">
              <a:sym typeface="+mn-ea"/>
            </a:rPr>
            <a:t>本项目在传统在线测试平台中融入智能元素，克服了以上缺点。</a:t>
          </a:r>
        </a:p>
      </dsp:txBody>
      <dsp:txXfrm>
        <a:off x="7633470" y="3539480"/>
        <a:ext cx="2716278" cy="2156854"/>
      </dsp:txXfrm>
    </dsp:sp>
    <dsp:sp modelId="{789C2E5F-53BE-4B9F-8B8F-155498EB6E4B}">
      <dsp:nvSpPr>
        <dsp:cNvPr id="0" name=""/>
        <dsp:cNvSpPr/>
      </dsp:nvSpPr>
      <dsp:spPr bwMode="white">
        <a:xfrm>
          <a:off x="5391462" y="520315"/>
          <a:ext cx="2155776" cy="2155776"/>
        </a:xfrm>
        <a:prstGeom prst="ellipse">
          <a:avLst/>
        </a:prstGeom>
        <a:solidFill>
          <a:schemeClr val="accent2">
            <a:hueOff val="-14738"/>
            <a:satOff val="33565"/>
            <a:lumOff val="-1156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300" kern="1200"/>
            <a:t>发展现状和改善</a:t>
          </a:r>
        </a:p>
      </dsp:txBody>
      <dsp:txXfrm>
        <a:off x="5707168" y="836021"/>
        <a:ext cx="1524364" cy="152436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0F1FAC-E2B7-47D9-AF9E-8567148D7A1D}">
      <dsp:nvSpPr>
        <dsp:cNvPr id="0" name=""/>
        <dsp:cNvSpPr/>
      </dsp:nvSpPr>
      <dsp:spPr bwMode="white">
        <a:xfrm>
          <a:off x="1386726" y="314836"/>
          <a:ext cx="4426153" cy="4426153"/>
        </a:xfrm>
        <a:prstGeom prst="pie">
          <a:avLst>
            <a:gd name="adj1" fmla="val 16200000"/>
            <a:gd name="adj2" fmla="val 2052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sz="1500" kern="1200" dirty="0">
              <a:sym typeface="+mn-ea"/>
            </a:rPr>
            <a:t>人脸识别与作弊检测模块</a:t>
          </a:r>
          <a:endParaRPr lang="zh-CN" altLang="en-US" sz="1500" kern="1200"/>
        </a:p>
      </dsp:txBody>
      <dsp:txXfrm>
        <a:off x="3655656" y="976124"/>
        <a:ext cx="1501730" cy="1027499"/>
      </dsp:txXfrm>
    </dsp:sp>
    <dsp:sp modelId="{E39900BC-8280-4B85-BA2D-D2EC42E5E3C8}">
      <dsp:nvSpPr>
        <dsp:cNvPr id="0" name=""/>
        <dsp:cNvSpPr/>
      </dsp:nvSpPr>
      <dsp:spPr bwMode="white">
        <a:xfrm>
          <a:off x="1231810" y="528240"/>
          <a:ext cx="4426153" cy="4426153"/>
        </a:xfrm>
        <a:prstGeom prst="pie">
          <a:avLst>
            <a:gd name="adj1" fmla="val 20520000"/>
            <a:gd name="adj2" fmla="val 3240000"/>
          </a:avLst>
        </a:prstGeom>
        <a:solidFill>
          <a:schemeClr val="accent2">
            <a:hueOff val="-3685"/>
            <a:satOff val="8391"/>
            <a:lumOff val="-289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sz="1500" kern="1200">
              <a:sym typeface="+mn-ea"/>
            </a:rPr>
            <a:t>在</a:t>
          </a:r>
          <a:r>
            <a:rPr sz="1500" kern="1200" dirty="0">
              <a:sym typeface="+mn-ea"/>
            </a:rPr>
            <a:t>线答题与判题模块</a:t>
          </a:r>
          <a:endParaRPr sz="1500" kern="1200" dirty="0"/>
        </a:p>
      </dsp:txBody>
      <dsp:txXfrm>
        <a:off x="4124617" y="2530547"/>
        <a:ext cx="1317307" cy="1111807"/>
      </dsp:txXfrm>
    </dsp:sp>
    <dsp:sp modelId="{5CA0BC8A-FE97-4043-AD4F-D6CB2A4406DC}">
      <dsp:nvSpPr>
        <dsp:cNvPr id="0" name=""/>
        <dsp:cNvSpPr/>
      </dsp:nvSpPr>
      <dsp:spPr bwMode="white">
        <a:xfrm>
          <a:off x="1231810" y="528240"/>
          <a:ext cx="4426153" cy="4426153"/>
        </a:xfrm>
        <a:prstGeom prst="pie">
          <a:avLst>
            <a:gd name="adj1" fmla="val 3240000"/>
            <a:gd name="adj2" fmla="val 7560000"/>
          </a:avLst>
        </a:prstGeom>
        <a:solidFill>
          <a:schemeClr val="accent2">
            <a:hueOff val="-7369"/>
            <a:satOff val="16782"/>
            <a:lumOff val="-578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sz="1500" kern="1200">
              <a:sym typeface="+mn-ea"/>
            </a:rPr>
            <a:t>题</a:t>
          </a:r>
          <a:r>
            <a:rPr sz="1500" kern="1200" dirty="0">
              <a:sym typeface="+mn-ea"/>
            </a:rPr>
            <a:t>目发布与测试案例管理编辑模块</a:t>
          </a:r>
          <a:endParaRPr sz="1500" kern="1200" dirty="0"/>
        </a:p>
      </dsp:txBody>
      <dsp:txXfrm>
        <a:off x="2654502" y="3847855"/>
        <a:ext cx="1580769" cy="948461"/>
      </dsp:txXfrm>
    </dsp:sp>
    <dsp:sp modelId="{7D6786C3-9C0E-4C85-A7F6-38539CFFC93A}">
      <dsp:nvSpPr>
        <dsp:cNvPr id="0" name=""/>
        <dsp:cNvSpPr/>
      </dsp:nvSpPr>
      <dsp:spPr bwMode="white">
        <a:xfrm>
          <a:off x="1231810" y="528240"/>
          <a:ext cx="4426153" cy="4426153"/>
        </a:xfrm>
        <a:prstGeom prst="pie">
          <a:avLst>
            <a:gd name="adj1" fmla="val 7560000"/>
            <a:gd name="adj2" fmla="val 11880000"/>
          </a:avLst>
        </a:prstGeom>
        <a:solidFill>
          <a:schemeClr val="accent2">
            <a:hueOff val="-11054"/>
            <a:satOff val="25174"/>
            <a:lumOff val="-867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sz="1500" kern="1200" dirty="0">
              <a:sym typeface="+mn-ea"/>
            </a:rPr>
            <a:t>成绩分析与推荐系统模块</a:t>
          </a:r>
          <a:endParaRPr lang="zh-CN" altLang="en-US" sz="1500" kern="1200"/>
        </a:p>
      </dsp:txBody>
      <dsp:txXfrm>
        <a:off x="1442579" y="2530547"/>
        <a:ext cx="1317307" cy="1111807"/>
      </dsp:txXfrm>
    </dsp:sp>
    <dsp:sp modelId="{F8A23202-715E-4760-88A7-5EFF19B0F523}">
      <dsp:nvSpPr>
        <dsp:cNvPr id="0" name=""/>
        <dsp:cNvSpPr/>
      </dsp:nvSpPr>
      <dsp:spPr bwMode="white">
        <a:xfrm>
          <a:off x="1231810" y="528240"/>
          <a:ext cx="4426153" cy="4426153"/>
        </a:xfrm>
        <a:prstGeom prst="pie">
          <a:avLst>
            <a:gd name="adj1" fmla="val 11880000"/>
            <a:gd name="adj2" fmla="val 16200000"/>
          </a:avLst>
        </a:prstGeom>
        <a:solidFill>
          <a:schemeClr val="accent2">
            <a:hueOff val="-14738"/>
            <a:satOff val="33565"/>
            <a:lumOff val="-1156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sz="1500" kern="1200" dirty="0">
              <a:sym typeface="+mn-ea"/>
            </a:rPr>
            <a:t>教师与课程管理模块</a:t>
          </a:r>
          <a:endParaRPr lang="zh-CN" altLang="en-US" sz="1500" kern="1200"/>
        </a:p>
      </dsp:txBody>
      <dsp:txXfrm>
        <a:off x="1877291" y="1202701"/>
        <a:ext cx="1501730" cy="102749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069558-9A0D-4777-9B5C-1F8CC5A904D0}">
      <dsp:nvSpPr>
        <dsp:cNvPr id="0" name=""/>
        <dsp:cNvSpPr/>
      </dsp:nvSpPr>
      <dsp:spPr>
        <a:xfrm rot="5400000">
          <a:off x="1147640" y="957947"/>
          <a:ext cx="841286" cy="957774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B6B3DBAD-9628-4182-98C9-C3F56A96B563}">
      <dsp:nvSpPr>
        <dsp:cNvPr id="0" name=""/>
        <dsp:cNvSpPr/>
      </dsp:nvSpPr>
      <dsp:spPr bwMode="white">
        <a:xfrm>
          <a:off x="924751" y="25364"/>
          <a:ext cx="1416231" cy="991315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700" kern="1200"/>
            <a:t>进入题目页面</a:t>
          </a:r>
        </a:p>
      </dsp:txBody>
      <dsp:txXfrm>
        <a:off x="973152" y="73765"/>
        <a:ext cx="1319429" cy="894513"/>
      </dsp:txXfrm>
    </dsp:sp>
    <dsp:sp modelId="{CF563743-F0CD-43FF-8ED9-181590D5AEC7}">
      <dsp:nvSpPr>
        <dsp:cNvPr id="0" name=""/>
        <dsp:cNvSpPr/>
      </dsp:nvSpPr>
      <dsp:spPr bwMode="white">
        <a:xfrm>
          <a:off x="2285118" y="382943"/>
          <a:ext cx="1141759" cy="2751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3E57910-EB90-4850-9A4E-8662A513D003}">
      <dsp:nvSpPr>
        <dsp:cNvPr id="0" name=""/>
        <dsp:cNvSpPr/>
      </dsp:nvSpPr>
      <dsp:spPr>
        <a:xfrm rot="5400000">
          <a:off x="2348661" y="2071522"/>
          <a:ext cx="841286" cy="957774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-4775197"/>
            <a:satOff val="-13739"/>
            <a:lumOff val="5624"/>
            <a:alphaOff val="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FAF4FC6F-67B2-4C23-BD82-FF5779C49F32}">
      <dsp:nvSpPr>
        <dsp:cNvPr id="0" name=""/>
        <dsp:cNvSpPr/>
      </dsp:nvSpPr>
      <dsp:spPr bwMode="white">
        <a:xfrm>
          <a:off x="2125771" y="1138939"/>
          <a:ext cx="1416231" cy="991315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700" kern="1200"/>
            <a:t>请求摄像头权限</a:t>
          </a:r>
        </a:p>
      </dsp:txBody>
      <dsp:txXfrm>
        <a:off x="2174172" y="1187340"/>
        <a:ext cx="1319429" cy="894513"/>
      </dsp:txXfrm>
    </dsp:sp>
    <dsp:sp modelId="{8F521252-50A6-4EA9-AC51-762FFBA643C9}">
      <dsp:nvSpPr>
        <dsp:cNvPr id="0" name=""/>
        <dsp:cNvSpPr/>
      </dsp:nvSpPr>
      <dsp:spPr bwMode="white">
        <a:xfrm>
          <a:off x="3542002" y="1233484"/>
          <a:ext cx="1030031" cy="8012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100" kern="1200"/>
            <a:t>若用户拒绝则不予显示题目</a:t>
          </a:r>
        </a:p>
      </dsp:txBody>
      <dsp:txXfrm>
        <a:off x="3542002" y="1233484"/>
        <a:ext cx="1030031" cy="801225"/>
      </dsp:txXfrm>
    </dsp:sp>
    <dsp:sp modelId="{8D023A2E-F4BF-417B-8FBD-A24E71C9D682}">
      <dsp:nvSpPr>
        <dsp:cNvPr id="0" name=""/>
        <dsp:cNvSpPr/>
      </dsp:nvSpPr>
      <dsp:spPr>
        <a:xfrm rot="5400000">
          <a:off x="3549682" y="3185097"/>
          <a:ext cx="841286" cy="957774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-9550394"/>
            <a:satOff val="-27479"/>
            <a:lumOff val="11248"/>
            <a:alphaOff val="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54F8B79A-809C-4F22-B417-84B1257C574F}">
      <dsp:nvSpPr>
        <dsp:cNvPr id="0" name=""/>
        <dsp:cNvSpPr/>
      </dsp:nvSpPr>
      <dsp:spPr bwMode="white">
        <a:xfrm>
          <a:off x="3326792" y="2252514"/>
          <a:ext cx="1416231" cy="991315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700" kern="1200"/>
            <a:t>显示题目信息</a:t>
          </a:r>
        </a:p>
      </dsp:txBody>
      <dsp:txXfrm>
        <a:off x="3375193" y="2300915"/>
        <a:ext cx="1319429" cy="894513"/>
      </dsp:txXfrm>
    </dsp:sp>
    <dsp:sp modelId="{912E4826-423C-48BC-95BF-E0A5B35D7C1F}">
      <dsp:nvSpPr>
        <dsp:cNvPr id="0" name=""/>
        <dsp:cNvSpPr/>
      </dsp:nvSpPr>
      <dsp:spPr bwMode="white">
        <a:xfrm>
          <a:off x="4743023" y="2347059"/>
          <a:ext cx="1030031" cy="8012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100" kern="1200">
              <a:sym typeface="+mn-ea"/>
            </a:rPr>
            <a:t>每隔1分钟对用户抓拍一次</a:t>
          </a:r>
          <a:endParaRPr lang="zh-CN" altLang="en-US" sz="1100" kern="1200"/>
        </a:p>
      </dsp:txBody>
      <dsp:txXfrm>
        <a:off x="4743023" y="2347059"/>
        <a:ext cx="1030031" cy="801225"/>
      </dsp:txXfrm>
    </dsp:sp>
    <dsp:sp modelId="{5EAEA632-1BDC-4E5C-99A7-1234A1492560}">
      <dsp:nvSpPr>
        <dsp:cNvPr id="0" name=""/>
        <dsp:cNvSpPr/>
      </dsp:nvSpPr>
      <dsp:spPr bwMode="white">
        <a:xfrm>
          <a:off x="4527812" y="3366089"/>
          <a:ext cx="1416231" cy="991315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sz="1700" kern="1200">
              <a:sym typeface="+mn-ea"/>
            </a:rPr>
            <a:t>服</a:t>
          </a:r>
          <a:r>
            <a:rPr lang="zh-CN" altLang="en-US" sz="1700" kern="1200">
              <a:sym typeface="+mn-ea"/>
            </a:rPr>
            <a:t>务器比对判断</a:t>
          </a:r>
        </a:p>
      </dsp:txBody>
      <dsp:txXfrm>
        <a:off x="4576213" y="3414490"/>
        <a:ext cx="1319429" cy="89451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7E57AF-0587-449A-A755-B1B96DEF2BD2}">
      <dsp:nvSpPr>
        <dsp:cNvPr id="0" name=""/>
        <dsp:cNvSpPr/>
      </dsp:nvSpPr>
      <dsp:spPr>
        <a:xfrm>
          <a:off x="1468405" y="0"/>
          <a:ext cx="1479613" cy="822007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kern="1200"/>
            <a:t>浏览器</a:t>
          </a:r>
        </a:p>
      </dsp:txBody>
      <dsp:txXfrm>
        <a:off x="1492481" y="24076"/>
        <a:ext cx="1431461" cy="773855"/>
      </dsp:txXfrm>
    </dsp:sp>
    <dsp:sp modelId="{11477A19-6F59-488F-BD44-5E3FBE8E3386}">
      <dsp:nvSpPr>
        <dsp:cNvPr id="0" name=""/>
        <dsp:cNvSpPr/>
      </dsp:nvSpPr>
      <dsp:spPr>
        <a:xfrm rot="5400000">
          <a:off x="2054086" y="842557"/>
          <a:ext cx="308252" cy="369903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600" kern="1200"/>
        </a:p>
      </dsp:txBody>
      <dsp:txXfrm rot="-5400000">
        <a:off x="2097242" y="873382"/>
        <a:ext cx="221941" cy="215776"/>
      </dsp:txXfrm>
    </dsp:sp>
    <dsp:sp modelId="{353C71C7-5E8B-4565-86BF-B755B524B25E}">
      <dsp:nvSpPr>
        <dsp:cNvPr id="0" name=""/>
        <dsp:cNvSpPr/>
      </dsp:nvSpPr>
      <dsp:spPr>
        <a:xfrm>
          <a:off x="1468405" y="1233011"/>
          <a:ext cx="1479613" cy="822007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kern="1200"/>
            <a:t>后台服务器</a:t>
          </a:r>
        </a:p>
      </dsp:txBody>
      <dsp:txXfrm>
        <a:off x="1492481" y="1257087"/>
        <a:ext cx="1431461" cy="773855"/>
      </dsp:txXfrm>
    </dsp:sp>
    <dsp:sp modelId="{06ECC167-6368-4F79-84C6-65D90B9BC4A6}">
      <dsp:nvSpPr>
        <dsp:cNvPr id="0" name=""/>
        <dsp:cNvSpPr/>
      </dsp:nvSpPr>
      <dsp:spPr>
        <a:xfrm rot="5400000">
          <a:off x="2054086" y="2075568"/>
          <a:ext cx="308252" cy="369903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600" kern="1200"/>
        </a:p>
      </dsp:txBody>
      <dsp:txXfrm rot="-5400000">
        <a:off x="2097242" y="2106393"/>
        <a:ext cx="221941" cy="215776"/>
      </dsp:txXfrm>
    </dsp:sp>
    <dsp:sp modelId="{93DEFB83-998E-4F52-9267-01422D869D93}">
      <dsp:nvSpPr>
        <dsp:cNvPr id="0" name=""/>
        <dsp:cNvSpPr/>
      </dsp:nvSpPr>
      <dsp:spPr>
        <a:xfrm>
          <a:off x="1468405" y="2466022"/>
          <a:ext cx="1479613" cy="822007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kern="1200"/>
            <a:t>数据库</a:t>
          </a:r>
        </a:p>
      </dsp:txBody>
      <dsp:txXfrm>
        <a:off x="1492481" y="2490098"/>
        <a:ext cx="1431461" cy="77385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E2D22C-841A-42D7-B70A-68BAE7728FB5}">
      <dsp:nvSpPr>
        <dsp:cNvPr id="0" name=""/>
        <dsp:cNvSpPr/>
      </dsp:nvSpPr>
      <dsp:spPr>
        <a:xfrm>
          <a:off x="593103" y="2978576"/>
          <a:ext cx="3175819" cy="596846"/>
        </a:xfrm>
        <a:custGeom>
          <a:avLst/>
          <a:gdLst/>
          <a:ahLst/>
          <a:cxnLst/>
          <a:rect l="0" t="0" r="0" b="0"/>
          <a:pathLst>
            <a:path>
              <a:moveTo>
                <a:pt x="3175819" y="0"/>
              </a:moveTo>
              <a:lnTo>
                <a:pt x="3175819" y="472294"/>
              </a:lnTo>
              <a:lnTo>
                <a:pt x="0" y="472294"/>
              </a:lnTo>
              <a:lnTo>
                <a:pt x="0" y="596846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3A8128-6C86-49B7-B5CC-0153888815E5}">
      <dsp:nvSpPr>
        <dsp:cNvPr id="0" name=""/>
        <dsp:cNvSpPr/>
      </dsp:nvSpPr>
      <dsp:spPr>
        <a:xfrm>
          <a:off x="2012849" y="2978576"/>
          <a:ext cx="1756073" cy="600499"/>
        </a:xfrm>
        <a:custGeom>
          <a:avLst/>
          <a:gdLst/>
          <a:ahLst/>
          <a:cxnLst/>
          <a:rect l="0" t="0" r="0" b="0"/>
          <a:pathLst>
            <a:path>
              <a:moveTo>
                <a:pt x="1756073" y="0"/>
              </a:moveTo>
              <a:lnTo>
                <a:pt x="1756073" y="475948"/>
              </a:lnTo>
              <a:lnTo>
                <a:pt x="0" y="475948"/>
              </a:lnTo>
              <a:lnTo>
                <a:pt x="0" y="600499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84CD90E-BC25-40D9-BEBE-272B942CB872}">
      <dsp:nvSpPr>
        <dsp:cNvPr id="0" name=""/>
        <dsp:cNvSpPr/>
      </dsp:nvSpPr>
      <dsp:spPr>
        <a:xfrm>
          <a:off x="3391685" y="2978576"/>
          <a:ext cx="377237" cy="596709"/>
        </a:xfrm>
        <a:custGeom>
          <a:avLst/>
          <a:gdLst/>
          <a:ahLst/>
          <a:cxnLst/>
          <a:rect l="0" t="0" r="0" b="0"/>
          <a:pathLst>
            <a:path>
              <a:moveTo>
                <a:pt x="377237" y="0"/>
              </a:moveTo>
              <a:lnTo>
                <a:pt x="377237" y="472158"/>
              </a:lnTo>
              <a:lnTo>
                <a:pt x="0" y="472158"/>
              </a:lnTo>
              <a:lnTo>
                <a:pt x="0" y="596709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492B679-3C8C-4E72-95A8-8B81298826E7}">
      <dsp:nvSpPr>
        <dsp:cNvPr id="0" name=""/>
        <dsp:cNvSpPr/>
      </dsp:nvSpPr>
      <dsp:spPr>
        <a:xfrm>
          <a:off x="3768923" y="2978576"/>
          <a:ext cx="1102509" cy="6005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75954"/>
              </a:lnTo>
              <a:lnTo>
                <a:pt x="1102509" y="475954"/>
              </a:lnTo>
              <a:lnTo>
                <a:pt x="1102509" y="600505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79172D-D441-42BB-84EA-E3D989670DED}">
      <dsp:nvSpPr>
        <dsp:cNvPr id="0" name=""/>
        <dsp:cNvSpPr/>
      </dsp:nvSpPr>
      <dsp:spPr>
        <a:xfrm>
          <a:off x="3014068" y="2264319"/>
          <a:ext cx="1509710" cy="714257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300" kern="1200"/>
            <a:t>判题服务器</a:t>
          </a:r>
        </a:p>
      </dsp:txBody>
      <dsp:txXfrm>
        <a:off x="3014068" y="2264319"/>
        <a:ext cx="1509710" cy="714257"/>
      </dsp:txXfrm>
    </dsp:sp>
    <dsp:sp modelId="{08A0D1D2-3A20-4D63-8E35-B7C8B6B16D48}">
      <dsp:nvSpPr>
        <dsp:cNvPr id="0" name=""/>
        <dsp:cNvSpPr/>
      </dsp:nvSpPr>
      <dsp:spPr>
        <a:xfrm>
          <a:off x="4278328" y="3579082"/>
          <a:ext cx="1186207" cy="593103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sz="2300" kern="1200">
              <a:sym typeface="+mn-ea"/>
            </a:rPr>
            <a:t>判</a:t>
          </a:r>
          <a:r>
            <a:rPr lang="zh-CN" altLang="en-US" sz="2300" kern="1200">
              <a:sym typeface="+mn-ea"/>
            </a:rPr>
            <a:t>题机</a:t>
          </a:r>
          <a:endParaRPr lang="zh-CN" altLang="en-US" sz="2300" kern="1200"/>
        </a:p>
      </dsp:txBody>
      <dsp:txXfrm>
        <a:off x="4278328" y="3579082"/>
        <a:ext cx="1186207" cy="593103"/>
      </dsp:txXfrm>
    </dsp:sp>
    <dsp:sp modelId="{F9BF79BF-9870-4614-9CA6-441BB6630F56}">
      <dsp:nvSpPr>
        <dsp:cNvPr id="0" name=""/>
        <dsp:cNvSpPr/>
      </dsp:nvSpPr>
      <dsp:spPr>
        <a:xfrm>
          <a:off x="2798581" y="3575286"/>
          <a:ext cx="1186207" cy="593103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sz="2300" kern="1200">
              <a:sym typeface="+mn-ea"/>
            </a:rPr>
            <a:t>判</a:t>
          </a:r>
          <a:r>
            <a:rPr lang="zh-CN" altLang="en-US" sz="2300" kern="1200">
              <a:sym typeface="+mn-ea"/>
            </a:rPr>
            <a:t>题机</a:t>
          </a:r>
          <a:endParaRPr lang="zh-CN" altLang="en-US" sz="2300" kern="1200"/>
        </a:p>
      </dsp:txBody>
      <dsp:txXfrm>
        <a:off x="2798581" y="3575286"/>
        <a:ext cx="1186207" cy="593103"/>
      </dsp:txXfrm>
    </dsp:sp>
    <dsp:sp modelId="{7D64F4A3-0E55-47AC-A59B-9D5A9DC25552}">
      <dsp:nvSpPr>
        <dsp:cNvPr id="0" name=""/>
        <dsp:cNvSpPr/>
      </dsp:nvSpPr>
      <dsp:spPr>
        <a:xfrm>
          <a:off x="1419745" y="3579076"/>
          <a:ext cx="1186207" cy="593103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300" kern="1200">
              <a:sym typeface="+mn-ea"/>
            </a:rPr>
            <a:t>判题机</a:t>
          </a:r>
          <a:endParaRPr lang="zh-CN" altLang="en-US" sz="2300" kern="1200"/>
        </a:p>
      </dsp:txBody>
      <dsp:txXfrm>
        <a:off x="1419745" y="3579076"/>
        <a:ext cx="1186207" cy="593103"/>
      </dsp:txXfrm>
    </dsp:sp>
    <dsp:sp modelId="{89060D7E-822E-4C10-9455-B0E2CF63DF2C}">
      <dsp:nvSpPr>
        <dsp:cNvPr id="0" name=""/>
        <dsp:cNvSpPr/>
      </dsp:nvSpPr>
      <dsp:spPr>
        <a:xfrm>
          <a:off x="0" y="3575423"/>
          <a:ext cx="1186207" cy="593103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sz="2300" kern="1200">
              <a:sym typeface="+mn-ea"/>
            </a:rPr>
            <a:t>判</a:t>
          </a:r>
          <a:r>
            <a:rPr lang="zh-CN" altLang="en-US" sz="2300" kern="1200">
              <a:sym typeface="+mn-ea"/>
            </a:rPr>
            <a:t>题机</a:t>
          </a:r>
          <a:endParaRPr lang="zh-CN" altLang="en-US" sz="2300" kern="1200"/>
        </a:p>
      </dsp:txBody>
      <dsp:txXfrm>
        <a:off x="0" y="3575423"/>
        <a:ext cx="1186207" cy="59310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7E57AF-0587-449A-A755-B1B96DEF2BD2}">
      <dsp:nvSpPr>
        <dsp:cNvPr id="0" name=""/>
        <dsp:cNvSpPr/>
      </dsp:nvSpPr>
      <dsp:spPr bwMode="white">
        <a:xfrm>
          <a:off x="173735" y="0"/>
          <a:ext cx="1607058" cy="8928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3700" kern="1200" dirty="0"/>
        </a:p>
      </dsp:txBody>
      <dsp:txXfrm>
        <a:off x="199885" y="26150"/>
        <a:ext cx="1554758" cy="84051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3C0671-E2AB-40BD-AF6E-9FA09F369FF0}">
      <dsp:nvSpPr>
        <dsp:cNvPr id="0" name=""/>
        <dsp:cNvSpPr/>
      </dsp:nvSpPr>
      <dsp:spPr>
        <a:xfrm rot="2562159">
          <a:off x="2726065" y="3685200"/>
          <a:ext cx="795841" cy="54492"/>
        </a:xfrm>
        <a:custGeom>
          <a:avLst/>
          <a:gdLst/>
          <a:ahLst/>
          <a:cxnLst/>
          <a:rect l="0" t="0" r="0" b="0"/>
          <a:pathLst>
            <a:path>
              <a:moveTo>
                <a:pt x="0" y="27246"/>
              </a:moveTo>
              <a:lnTo>
                <a:pt x="795841" y="27246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B5F8B40-7FFB-4BF2-AB97-4DD23BBB3CB3}">
      <dsp:nvSpPr>
        <dsp:cNvPr id="0" name=""/>
        <dsp:cNvSpPr/>
      </dsp:nvSpPr>
      <dsp:spPr>
        <a:xfrm>
          <a:off x="2831561" y="2599748"/>
          <a:ext cx="884835" cy="54492"/>
        </a:xfrm>
        <a:custGeom>
          <a:avLst/>
          <a:gdLst/>
          <a:ahLst/>
          <a:cxnLst/>
          <a:rect l="0" t="0" r="0" b="0"/>
          <a:pathLst>
            <a:path>
              <a:moveTo>
                <a:pt x="0" y="27246"/>
              </a:moveTo>
              <a:lnTo>
                <a:pt x="884835" y="27246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E719B1-FDDF-4968-9D26-52CE098EA344}">
      <dsp:nvSpPr>
        <dsp:cNvPr id="0" name=""/>
        <dsp:cNvSpPr/>
      </dsp:nvSpPr>
      <dsp:spPr>
        <a:xfrm rot="19037841">
          <a:off x="2726065" y="1514296"/>
          <a:ext cx="795841" cy="54492"/>
        </a:xfrm>
        <a:custGeom>
          <a:avLst/>
          <a:gdLst/>
          <a:ahLst/>
          <a:cxnLst/>
          <a:rect l="0" t="0" r="0" b="0"/>
          <a:pathLst>
            <a:path>
              <a:moveTo>
                <a:pt x="0" y="27246"/>
              </a:moveTo>
              <a:lnTo>
                <a:pt x="795841" y="27246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E974068-7363-48BA-8A56-58FC71B522DC}">
      <dsp:nvSpPr>
        <dsp:cNvPr id="0" name=""/>
        <dsp:cNvSpPr/>
      </dsp:nvSpPr>
      <dsp:spPr>
        <a:xfrm>
          <a:off x="685290" y="1364482"/>
          <a:ext cx="2525024" cy="2525024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9FD9A9B-F5B2-41C6-AA4C-23B98CB4FBF3}">
      <dsp:nvSpPr>
        <dsp:cNvPr id="0" name=""/>
        <dsp:cNvSpPr/>
      </dsp:nvSpPr>
      <dsp:spPr>
        <a:xfrm>
          <a:off x="3215584" y="431"/>
          <a:ext cx="1515014" cy="1515014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300" kern="1200"/>
            <a:t>开源软件</a:t>
          </a:r>
        </a:p>
      </dsp:txBody>
      <dsp:txXfrm>
        <a:off x="3437453" y="222300"/>
        <a:ext cx="1071276" cy="1071276"/>
      </dsp:txXfrm>
    </dsp:sp>
    <dsp:sp modelId="{4B22126E-6F7A-4ADB-A489-ACBD46EA330A}">
      <dsp:nvSpPr>
        <dsp:cNvPr id="0" name=""/>
        <dsp:cNvSpPr/>
      </dsp:nvSpPr>
      <dsp:spPr>
        <a:xfrm>
          <a:off x="4882100" y="431"/>
          <a:ext cx="2272521" cy="15150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285750" lvl="1" indent="-285750" algn="l" defTabSz="28892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zh-CN" altLang="en-US" sz="6500" kern="1200"/>
        </a:p>
      </dsp:txBody>
      <dsp:txXfrm>
        <a:off x="4882100" y="431"/>
        <a:ext cx="2272521" cy="1515014"/>
      </dsp:txXfrm>
    </dsp:sp>
    <dsp:sp modelId="{8C52F264-3E24-4EC4-9000-82B4D521C9E0}">
      <dsp:nvSpPr>
        <dsp:cNvPr id="0" name=""/>
        <dsp:cNvSpPr/>
      </dsp:nvSpPr>
      <dsp:spPr>
        <a:xfrm>
          <a:off x="3716396" y="1869487"/>
          <a:ext cx="1515014" cy="1515014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300" kern="1200"/>
            <a:t>云计算</a:t>
          </a:r>
        </a:p>
      </dsp:txBody>
      <dsp:txXfrm>
        <a:off x="3938265" y="2091356"/>
        <a:ext cx="1071276" cy="1071276"/>
      </dsp:txXfrm>
    </dsp:sp>
    <dsp:sp modelId="{22A9452E-DB9D-4347-9D41-D29067BCCCC1}">
      <dsp:nvSpPr>
        <dsp:cNvPr id="0" name=""/>
        <dsp:cNvSpPr/>
      </dsp:nvSpPr>
      <dsp:spPr>
        <a:xfrm>
          <a:off x="5382912" y="1869487"/>
          <a:ext cx="2272521" cy="15150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285750" lvl="1" indent="-285750" algn="l" defTabSz="28892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zh-CN" altLang="en-US" sz="6500" kern="1200"/>
        </a:p>
      </dsp:txBody>
      <dsp:txXfrm>
        <a:off x="5382912" y="1869487"/>
        <a:ext cx="2272521" cy="1515014"/>
      </dsp:txXfrm>
    </dsp:sp>
    <dsp:sp modelId="{A4594B93-3116-410F-A9B6-83291B1F28AD}">
      <dsp:nvSpPr>
        <dsp:cNvPr id="0" name=""/>
        <dsp:cNvSpPr/>
      </dsp:nvSpPr>
      <dsp:spPr>
        <a:xfrm>
          <a:off x="3215584" y="3738543"/>
          <a:ext cx="1515014" cy="1515014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300" kern="1200"/>
            <a:t>前沿技术</a:t>
          </a:r>
        </a:p>
      </dsp:txBody>
      <dsp:txXfrm>
        <a:off x="3437453" y="3960412"/>
        <a:ext cx="1071276" cy="1071276"/>
      </dsp:txXfrm>
    </dsp:sp>
    <dsp:sp modelId="{A27E8F25-3FF6-4BDB-AC60-BAC2D7C34B3C}">
      <dsp:nvSpPr>
        <dsp:cNvPr id="0" name=""/>
        <dsp:cNvSpPr/>
      </dsp:nvSpPr>
      <dsp:spPr>
        <a:xfrm>
          <a:off x="4882100" y="3738543"/>
          <a:ext cx="2272521" cy="15150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285750" lvl="1" indent="-285750" algn="l" defTabSz="28892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zh-CN" altLang="en-US" sz="6500" kern="1200"/>
        </a:p>
      </dsp:txBody>
      <dsp:txXfrm>
        <a:off x="4882100" y="3738543"/>
        <a:ext cx="2272521" cy="15150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9#1">
  <dgm:title val=""/>
  <dgm:desc val=""/>
  <dgm:catLst>
    <dgm:cat type="list" pri="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3" srcId="0" destId="1" srcOrd="0" destOrd="0"/>
        <dgm:cxn modelId="4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"/>
        <dgm:pt modelId="2"/>
      </dgm:ptLst>
      <dgm:cxnLst>
        <dgm:cxn modelId="3" srcId="0" destId="1" srcOrd="0" destOrd="0"/>
        <dgm:cxn modelId="4" srcId="1" destId="2" srcOrd="0" destOrd="0"/>
      </dgm:cxnLst>
      <dgm:bg/>
      <dgm:whole/>
    </dgm:dataModel>
  </dgm:styleData>
  <dgm:clrData>
    <dgm:dataModel>
      <dgm:ptLst>
        <dgm:pt modelId="0" type="doc">
          <dgm:prSet csTypeId="urn:microsoft.com/office/officeart/2005/8/colors/accent6_5"/>
        </dgm:pt>
        <dgm:pt modelId="1"/>
        <dgm:pt modelId="11"/>
        <dgm:pt modelId="12"/>
        <dgm:pt modelId="13"/>
        <dgm:pt modelId="14"/>
        <dgm:pt modelId="2"/>
        <dgm:pt modelId="21"/>
        <dgm:pt modelId="22"/>
        <dgm:pt modelId="23"/>
        <dgm:pt modelId="24"/>
        <dgm:pt modelId="3"/>
        <dgm:pt modelId="31"/>
        <dgm:pt modelId="32"/>
        <dgm:pt modelId="33"/>
        <dgm:pt modelId="34"/>
      </dgm:ptLst>
      <dgm:cxnLst>
        <dgm:cxn modelId="4" srcId="0" destId="1" srcOrd="0" destOrd="0"/>
        <dgm:cxn modelId="5" srcId="0" destId="2" srcOrd="1" destOrd="0"/>
        <dgm:cxn modelId="6" srcId="0" destId="3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18" srcId="1" destId="14" srcOrd="0" destOrd="0"/>
        <dgm:cxn modelId="25" srcId="2" destId="21" srcOrd="0" destOrd="0"/>
        <dgm:cxn modelId="26" srcId="2" destId="22" srcOrd="0" destOrd="0"/>
        <dgm:cxn modelId="27" srcId="2" destId="23" srcOrd="0" destOrd="0"/>
        <dgm:cxn modelId="28" srcId="2" destId="24" srcOrd="0" destOrd="0"/>
        <dgm:cxn modelId="35" srcId="3" destId="31" srcOrd="0" destOrd="0"/>
        <dgm:cxn modelId="36" srcId="3" destId="32" srcOrd="0" destOrd="0"/>
        <dgm:cxn modelId="37" srcId="3" destId="33" srcOrd="0" destOrd="0"/>
        <dgm:cxn modelId="38" srcId="3" destId="34" srcOrd="0" destOrd="0"/>
      </dgm:cxnLst>
      <dgm:bg/>
      <dgm:whole/>
    </dgm:dataModel>
  </dgm:clrData>
  <dgm:layoutNode name="list">
    <dgm:varLst>
      <dgm:dir/>
      <dgm:animLvl val="lvl"/>
    </dgm:varLst>
    <dgm:choose name="Name0">
      <dgm:if name="Name1" func="var" arg="dir" op="equ" val="norm">
        <dgm:alg type="lin">
          <dgm:param type="linDir" val="fromL"/>
          <dgm:param type="nodeVertAlign" val="t"/>
          <dgm:param type="fallback" val="2D"/>
        </dgm:alg>
      </dgm:if>
      <dgm:else name="Name2">
        <dgm:alg type="lin">
          <dgm:param type="linDir" val="from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ircle" refType="w" fact="0.5"/>
      <dgm:constr type="w" for="ch" forName="vertFlow" refType="w" fact="0.75"/>
      <dgm:constr type="h" for="des" forName="firstComp" refType="w" refFor="ch" refForName="vertFlow" fact="0.667"/>
      <dgm:constr type="h" for="des" forName="comp" refType="h" refFor="des" refForName="firstComp" op="equ"/>
      <dgm:constr type="h" for="des" forName="topSpace" refType="w" refFor="ch" refForName="circle" op="equ" fact="0.4"/>
      <dgm:constr type="w" for="ch" forName="posSpace" refType="w" fact="0.4"/>
      <dgm:constr type="w" for="ch" forName="negSpace" refType="w" fact="-1.15"/>
      <dgm:constr type="w" for="ch" forName="transSpace" refType="w" fact="0.75"/>
      <dgm:constr type="primFontSz" for="ch" forName="circle" op="equ" val="65"/>
      <dgm:constr type="primFontSz" for="des" forName="firstChildTx" val="65"/>
      <dgm:constr type="primFontSz" for="des" forName="childTx" refType="primFontSz" refFor="des" refForName="firstChildTx" op="equ"/>
    </dgm:constrLst>
    <dgm:ruleLst/>
    <dgm:forEach name="Name3" axis="ch" ptType="node">
      <dgm:layoutNode name="pos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vertFlow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firstComp" refType="w"/>
          <dgm:constr type="w" for="ch" forName="comp" refType="w"/>
        </dgm:constrLst>
        <dgm:ruleLst/>
        <dgm:layoutNode name="top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firstComp">
          <dgm:alg type="composite"/>
          <dgm:shape xmlns:r="http://schemas.openxmlformats.org/officeDocument/2006/relationships" r:blip="">
            <dgm:adjLst/>
          </dgm:shape>
          <dgm:presOf/>
          <dgm:choose name="Name4">
            <dgm:if name="Name5" func="var" arg="dir" op="equ" val="norm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 refType="w" fact="0.16"/>
                <dgm:constr type="r" for="ch" forName="firstChildTx" refType="w"/>
                <dgm:constr type="h" for="ch" forName="firstChildTx" refFor="ch" refForName="firstChild" op="equ"/>
              </dgm:constrLst>
            </dgm:if>
            <dgm:else name="Name6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/>
                <dgm:constr type="r" for="ch" forName="firstChildTx" refType="w" fact="0.825"/>
                <dgm:constr type="h" for="ch" forName="firstChildTx" refFor="ch" refForName="firstChild" op="equ"/>
              </dgm:constrLst>
            </dgm:else>
          </dgm:choose>
          <dgm:ruleLst/>
          <dgm:layoutNode name="firstChild" styleLbl="bgAccFollowNode1">
            <dgm:alg type="sp"/>
            <dgm:shape xmlns:r="http://schemas.openxmlformats.org/officeDocument/2006/relationships" type="rect" r:blip="">
              <dgm:adjLst/>
            </dgm:shape>
            <dgm:presOf axis="ch desOrSelf" ptType="node node" cnt="1 0"/>
            <dgm:constrLst/>
            <dgm:ruleLst/>
          </dgm:layoutNode>
          <dgm:layoutNode name="firstChildTx" styleLbl="bgAccFollowNode1">
            <dgm:varLst>
              <dgm:bulletEnabled val="1"/>
            </dgm:varLst>
            <dgm:alg type="tx">
              <dgm:param type="parTxLTRAlign" val="l"/>
            </dgm:alg>
            <dgm:shape xmlns:r="http://schemas.openxmlformats.org/officeDocument/2006/relationships" type="rect" r:blip="" hideGeom="1">
              <dgm:adjLst/>
            </dgm:shape>
            <dgm:presOf axis="ch desOrSelf" ptType="node node" cnt="1 0"/>
            <dgm:choose name="Name7">
              <dgm:if name="Name8" func="var" arg="dir" op="equ" val="norm">
                <dgm:constrLst>
                  <dgm:constr type="primFontSz" val="65"/>
                  <dgm:constr type="lMarg"/>
                </dgm:constrLst>
              </dgm:if>
              <dgm:else name="Name9">
                <dgm:constrLst>
                  <dgm:constr type="primFontSz" val="65"/>
                  <dgm:constr type="r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forEach name="Name10" axis="ch" ptType="node" st="2">
          <dgm:layoutNode name="comp">
            <dgm:alg type="composite"/>
            <dgm:shape xmlns:r="http://schemas.openxmlformats.org/officeDocument/2006/relationships" r:blip="">
              <dgm:adjLst/>
            </dgm:shape>
            <dgm:presOf/>
            <dgm:choose name="Name11">
              <dgm:if name="Name12" func="var" arg="dir" op="equ" val="norm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 refType="w" fact="0.16"/>
                  <dgm:constr type="r" for="ch" forName="childTx" refType="w"/>
                  <dgm:constr type="h" for="ch" forName="childTx" refFor="ch" refForName="child" op="equ"/>
                </dgm:constrLst>
              </dgm:if>
              <dgm:else name="Name13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/>
                  <dgm:constr type="r" for="ch" forName="childTx" refType="w" fact="0.825"/>
                  <dgm:constr type="h" for="ch" forName="childTx" refFor="ch" refForName="child" op="equ"/>
                </dgm:constrLst>
              </dgm:else>
            </dgm:choose>
            <dgm:ruleLst/>
            <dgm:layoutNode name="child" styleLbl="bgAccFollowNode1">
              <dgm:alg type="sp"/>
              <dgm:shape xmlns:r="http://schemas.openxmlformats.org/officeDocument/2006/relationships" type="rect" r:blip="">
                <dgm:adjLst/>
              </dgm:shape>
              <dgm:presOf axis="desOrSelf" ptType="node"/>
              <dgm:constrLst/>
              <dgm:ruleLst/>
            </dgm:layoutNode>
            <dgm:layoutNode name="childTx" styleLbl="bgAccFollowNode1">
              <dgm:varLst>
                <dgm:bulletEnabled val="1"/>
              </dgm:varLst>
              <dgm:alg type="tx">
                <dgm:param type="parTxLTRAlign" val="l"/>
              </dgm:alg>
              <dgm:shape xmlns:r="http://schemas.openxmlformats.org/officeDocument/2006/relationships" type="rect" r:blip="" hideGeom="1">
                <dgm:adjLst/>
              </dgm:shape>
              <dgm:presOf axis="desOrSelf" ptType="node"/>
              <dgm:choose name="Name14">
                <dgm:if name="Name15" func="var" arg="dir" op="equ" val="norm">
                  <dgm:constrLst>
                    <dgm:constr type="primFontSz" val="65"/>
                    <dgm:constr type="lMarg"/>
                  </dgm:constrLst>
                </dgm:if>
                <dgm:else name="Name16">
                  <dgm:constrLst>
                    <dgm:constr type="primFontSz" val="65"/>
                    <dgm:constr type="rMarg"/>
                  </dgm:constrLst>
                </dgm:else>
              </dgm:choose>
              <dgm:ruleLst>
                <dgm:rule type="primFontSz" val="5" fact="NaN" max="NaN"/>
              </dgm:ruleLst>
            </dgm:layoutNode>
          </dgm:layoutNode>
        </dgm:forEach>
      </dgm:layoutNode>
      <dgm:layoutNode name="neg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ircle" styleLbl="node1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lMarg"/>
          <dgm:constr type="rMarg"/>
          <dgm:constr type="tMarg"/>
          <dgm:constr type="bMarg"/>
          <dgm:constr type="h" refType="w"/>
        </dgm:constrLst>
        <dgm:ruleLst>
          <dgm:rule type="primFontSz" val="5" fact="NaN" max="NaN"/>
        </dgm:ruleLst>
      </dgm:layoutNode>
      <dgm:forEach name="Name17" axis="followSib" ptType="sibTrans" cnt="1">
        <dgm:layoutNode name="trans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art3#1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>
          <dgm:prSet csTypeId="urn:microsoft.com/office/officeart/2005/8/colors/accent6_5"/>
        </dgm:pt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ar" val="1"/>
      <dgm:param type="vertAlign" val="mid"/>
      <dgm:param type="horzAlign" val="ctr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StepDownProcess#1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>
          <dgm:prSet csTypeId="urn:microsoft.com/office/officeart/2005/8/colors/accent6_5"/>
        </dgm:pt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bkpt" val="fixed"/>
          <dgm:param type="bkPtFixedVal" val="1"/>
          <dgm:param type="off" val="off"/>
          <dgm:param type="grDir" val="tL"/>
          <dgm:param type="flowDir" val="row"/>
        </dgm:alg>
      </dgm:if>
      <dgm:else name="Name2">
        <dgm:alg type="snake">
          <dgm:param type="bkpt" val="fixed"/>
          <dgm:param type="bkPtFixedVal" val="1"/>
          <dgm:param type="off" val="off"/>
          <dgm:param type="grDir" val="tR"/>
          <dgm:param type="flowDir" val="row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parTxLTRAlign" val="l"/>
                    <dgm:param type="stBulletLvl" val="1"/>
                    <dgm:param type="txAnchorVertCh" val="mid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parTxLTRAlign" val="l"/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#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>
          <dgm:prSet csTypeId="urn:microsoft.com/office/officeart/2005/8/colors/accent6_5"/>
        </dgm:pt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linDir" val="fromT"/>
                  <dgm:param type="chAlign" val="r"/>
                </dgm:alg>
              </dgm:if>
              <dgm:if name="Name23" func="var" arg="hierBranch" op="equ" val="r">
                <dgm:alg type="hierChild">
                  <dgm:param type="linDir" val="fromT"/>
                  <dgm:param type="chAlign" val="l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linDir" val="fromL"/>
                      <dgm:param type="chAlign" val="l"/>
                      <dgm:param type="secLinDir" val="fromT"/>
                      <dgm:param type="secChAlign" val="t"/>
                    </dgm:alg>
                  </dgm:if>
                  <dgm:else name="Name27">
                    <dgm:alg type="hierChild">
                      <dgm:param type="linDir" val="fromR"/>
                      <dgm:param type="chAlign" val="l"/>
                      <dgm:param type="secLinDir" val="fromT"/>
                      <dgm:param type="secChAlign" val="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dim" val="1D"/>
                                    <dgm:param type="endSty" val="noArr"/>
                                    <dgm:param type="connRout" val="bend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srcNode" val="rootConnector"/>
                                    <dgm:param type="dim" val="1D"/>
                                    <dgm:param type="endSty" val="noArr"/>
                                    <dgm:param type="connRout" val="bend"/>
                                    <dgm:param type="begPts" val="bCtr"/>
                                    <dgm:param type="endPts" val="midL mid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srcNode" val="rootConnector1"/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srcNode" val="rootConnector"/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linDir" val="fromT"/>
                        <dgm:param type="chAlign" val="r"/>
                      </dgm:alg>
                    </dgm:if>
                    <dgm:if name="Name85" func="var" arg="hierBranch" op="equ" val="r">
                      <dgm:alg type="hierChild">
                        <dgm:param type="linDir" val="fromT"/>
                        <dgm:param type="chAlign" val="l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linDir" val="fromL"/>
                            <dgm:param type="chAlign" val="l"/>
                            <dgm:param type="secLinDir" val="fromT"/>
                            <dgm:param type="secChAlign" val="t"/>
                          </dgm:alg>
                        </dgm:if>
                        <dgm:else name="Name89">
                          <dgm:alg type="hierChild">
                            <dgm:param type="linDir" val="fromR"/>
                            <dgm:param type="chAlign" val="l"/>
                            <dgm:param type="secLinDir" val="fromT"/>
                            <dgm:param type="secChAlign" val="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linDir" val="fromL"/>
                        <dgm:param type="chAlign" val="l"/>
                        <dgm:param type="secLinDir" val="fromT"/>
                        <dgm:param type="secChAlign" val="t"/>
                      </dgm:alg>
                    </dgm:if>
                    <dgm:else name="Name105">
                      <dgm:alg type="hierChild">
                        <dgm:param type="linDir" val="fromR"/>
                        <dgm:param type="chAlign" val="l"/>
                        <dgm:param type="secLinDir" val="fromT"/>
                        <dgm:param type="secChAlign" val="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linDir" val="fromL"/>
                  <dgm:param type="chAlign" val="l"/>
                  <dgm:param type="secLinDir" val="fromT"/>
                  <dgm:param type="secChAlign" val="t"/>
                </dgm:alg>
              </dgm:if>
              <dgm:else name="Name109">
                <dgm:alg type="hierChild">
                  <dgm:param type="linDir" val="fromR"/>
                  <dgm:param type="chAlign" val="l"/>
                  <dgm:param type="secLinDir" val="fromT"/>
                  <dgm:param type="secChAlign" val="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dim" val="1D"/>
                    <dgm:param type="endSty" val="noArr"/>
                    <dgm:param type="connRout" val="bend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linDir" val="fromT"/>
                        <dgm:param type="chAlign" val="r"/>
                      </dgm:alg>
                    </dgm:if>
                    <dgm:if name="Name129" func="var" arg="hierBranch" op="equ" val="r">
                      <dgm:alg type="hierChild">
                        <dgm:param type="linDir" val="fromT"/>
                        <dgm:param type="chAlign" val="l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linDir" val="fromL"/>
                            <dgm:param type="chAlign" val="l"/>
                            <dgm:param type="secLinDir" val="fromT"/>
                            <dgm:param type="secChAlign" val="t"/>
                          </dgm:alg>
                        </dgm:if>
                        <dgm:else name="Name133">
                          <dgm:alg type="hierChild">
                            <dgm:param type="linDir" val="fromR"/>
                            <dgm:param type="chAlign" val="l"/>
                            <dgm:param type="secLinDir" val="fromT"/>
                            <dgm:param type="secChAlign" val="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linDir" val="fromL"/>
                        <dgm:param type="chAlign" val="l"/>
                        <dgm:param type="secLinDir" val="fromT"/>
                        <dgm:param type="secChAlign" val="t"/>
                      </dgm:alg>
                    </dgm:if>
                    <dgm:else name="Name146">
                      <dgm:alg type="hierChild">
                        <dgm:param type="linDir" val="fromR"/>
                        <dgm:param type="chAlign" val="l"/>
                        <dgm:param type="secLinDir" val="fromT"/>
                        <dgm:param type="secChAlign" val="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radial2#1">
  <dgm:title val=""/>
  <dgm:desc val=""/>
  <dgm:catLst>
    <dgm:cat type="relationship" pri="20000"/>
    <dgm:cat type="conver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>
          <dgm:prSet csTypeId="urn:microsoft.com/office/officeart/2005/8/colors/accent6_5"/>
        </dgm:pt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cycle" refType="w"/>
      <dgm:constr type="h" for="ch" forName="cycle" refType="h"/>
    </dgm:constrLst>
    <dgm:ruleLst/>
    <dgm:layoutNode name="cycle">
      <dgm:choose name="Name0">
        <dgm:if name="Name1" func="var" arg="dir" op="equ" val="norm">
          <dgm:choose name="Name2">
            <dgm:if name="Name3" axis="ch" ptType="node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if name="Name4" axis="ch" ptType="node" func="cnt" op="equ" val="2">
              <dgm:alg type="cycle">
                <dgm:param type="stAng" val="70"/>
                <dgm:param type="spanAng" val="40"/>
                <dgm:param type="ctrShpMap" val="fNode"/>
              </dgm:alg>
            </dgm:if>
            <dgm:if name="Name5" axis="ch" ptType="node" func="cnt" op="equ" val="3">
              <dgm:alg type="cycle">
                <dgm:param type="stAng" val="60"/>
                <dgm:param type="spanAng" val="60"/>
                <dgm:param type="ctrShpMap" val="fNode"/>
              </dgm:alg>
            </dgm:if>
            <dgm:else name="Name6">
              <dgm:alg type="cycle">
                <dgm:param type="stAng" val="45"/>
                <dgm:param type="spanAng" val="90"/>
                <dgm:param type="ctrShpMap" val="fNode"/>
              </dgm:alg>
            </dgm:else>
          </dgm:choose>
        </dgm:if>
        <dgm:else name="Name7">
          <dgm:choose name="Name8">
            <dgm:if name="Name9" axis="ch" ptType="node" func="cnt" op="lte" val="1">
              <dgm:alg type="cycle">
                <dgm:param type="stAng" val="-90"/>
                <dgm:param type="spanAng" val="-360"/>
                <dgm:param type="ctrShpMap" val="fNode"/>
              </dgm:alg>
            </dgm:if>
            <dgm:if name="Name10" axis="ch" ptType="node" func="cnt" op="equ" val="2">
              <dgm:alg type="cycle">
                <dgm:param type="stAng" val="-70"/>
                <dgm:param type="spanAng" val="-40"/>
                <dgm:param type="ctrShpMap" val="fNode"/>
              </dgm:alg>
            </dgm:if>
            <dgm:if name="Name11" axis="ch" ptType="node" func="cnt" op="equ" val="3">
              <dgm:alg type="cycle">
                <dgm:param type="stAng" val="-60"/>
                <dgm:param type="spanAng" val="-60"/>
                <dgm:param type="ctrShpMap" val="fNode"/>
              </dgm:alg>
            </dgm:if>
            <dgm:else name="Name12">
              <dgm:alg type="cycle">
                <dgm:param type="stAng" val="-45"/>
                <dgm:param type="spanAng" val="-90"/>
                <dgm:param type="ctrShpMap" val="fNode"/>
              </dgm:alg>
            </dgm:else>
          </dgm:choose>
        </dgm:else>
      </dgm:choose>
      <dgm:shape xmlns:r="http://schemas.openxmlformats.org/officeDocument/2006/relationships" r:blip="">
        <dgm:adjLst/>
      </dgm:shape>
      <dgm:presOf/>
      <dgm:constrLst>
        <dgm:constr type="sp" val="20"/>
        <dgm:constr type="w" for="ch" forName="centerShape" refType="w"/>
        <dgm:constr type="w" for="ch" forName="node" refType="w" refFor="ch" refForName="centerShape" fact="1.5"/>
        <dgm:constr type="sibSp" refType="w" refFor="ch" refForName="centerShape" op="equ" fact="0.08"/>
        <dgm:constr type="primFontSz" for="des" forName="parentNode" op="equ" val="65"/>
        <dgm:constr type="secFontSz" for="des" forName="childNode" op="equ" val="65"/>
      </dgm:constrLst>
      <dgm:ruleLst/>
      <dgm:choose name="Name13">
        <dgm:if name="Name14" axis="ch" ptType="node" hideLastTrans="0" func="cnt" op="gte" val="1">
          <dgm:layoutNode name="centerShape" styleLbl="node0">
            <dgm:alg type="composite"/>
            <dgm:shape xmlns:r="http://schemas.openxmlformats.org/officeDocument/2006/relationships" r:blip="">
              <dgm:adjLst/>
            </dgm:shape>
            <dgm:presOf axis="ch" ptType="node" cnt="1"/>
            <dgm:constrLst>
              <dgm:constr type="w" for="ch" forName="connSite" refType="w" fact="0.7"/>
              <dgm:constr type="h" for="ch" forName="connSite" refType="w" fact="0.7"/>
              <dgm:constr type="ctrX" for="ch" forName="connSite" refType="w" fact="0.5"/>
              <dgm:constr type="ctrY" for="ch" forName="connSite" refType="h" fact="0.5"/>
              <dgm:constr type="w" for="ch" forName="visible" refType="w"/>
              <dgm:constr type="h" for="ch" forName="visible" refType="w"/>
              <dgm:constr type="ctrX" for="ch" forName="visible" refType="w" fact="0.5"/>
              <dgm:constr type="ctrY" for="ch" forName="visible" refType="h" fact="0.5"/>
            </dgm:constrLst>
            <dgm:ruleLst/>
            <dgm:layoutNode name="connSite">
              <dgm:alg type="sp"/>
              <dgm:shape xmlns:r="http://schemas.openxmlformats.org/officeDocument/2006/relationships" type="ellipse" r:blip="" hideGeom="1">
                <dgm:adjLst/>
              </dgm:shape>
              <dgm:presOf/>
              <dgm:constrLst/>
              <dgm:ruleLst/>
            </dgm:layoutNode>
            <dgm:layoutNode name="visible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</dgm:layoutNode>
        </dgm:if>
        <dgm:else name="Name15"/>
      </dgm:choose>
      <dgm:forEach name="Name16" axis="ch">
        <dgm:forEach name="Name17" axis="self" ptType="node">
          <dgm:layoutNode name="node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func="var" arg="dir" op="equ" val="norm">
                <dgm:constrLst>
                  <dgm:constr type="t" for="ch" forName="parentNode"/>
                  <dgm:constr type="l" for="ch" forName="parentNode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 refType="w" refFor="ch" refForName="parentNode" op="equ" fact="1.1"/>
                  <dgm:constr type="w" for="ch" forName="childNode" refType="w" fact="0.6"/>
                  <dgm:constr type="h" for="ch" forName="childNode" refType="h" refFor="ch" refForName="parentNode"/>
                </dgm:constrLst>
              </dgm:if>
              <dgm:else name="Name20">
                <dgm:constrLst>
                  <dgm:constr type="t" for="ch" forName="parentNode"/>
                  <dgm:constr type="r" for="ch" forName="parentNode" refType="w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/>
                  <dgm:constr type="w" for="ch" forName="childNode" refType="w" fact="0.6"/>
                  <dgm:constr type="h" for="ch" forName="childNode" refType="h" refFor="ch" refForName="parentNode"/>
                </dgm:constrLst>
              </dgm:else>
            </dgm:choose>
            <dgm:ruleLst/>
            <dgm:layoutNode name="parentNode" styleLbl="node1">
              <dgm:varLst>
                <dgm:chMax val="1"/>
                <dgm:bulletEnabled val="1"/>
              </dgm:varLst>
              <dgm:alg type="tx"/>
              <dgm:shape xmlns:r="http://schemas.openxmlformats.org/officeDocument/2006/relationships" type="ellipse" r:blip="">
                <dgm:adjLst/>
              </dgm:shape>
              <dgm:presOf axis="self"/>
              <dgm:constrLst>
                <dgm:constr type="tMarg" refType="primFontSz" fact="0.05"/>
                <dgm:constr type="bMarg" refType="primFontSz" fact="0.05"/>
                <dgm:constr type="lMarg" refType="primFontSz" fact="0.05"/>
                <dgm:constr type="rMarg" refType="primFontSz" fact="0.05"/>
              </dgm:constrLst>
              <dgm:ruleLst>
                <dgm:rule type="primFontSz" val="5" fact="NaN" max="NaN"/>
              </dgm:ruleLst>
            </dgm:layoutNode>
            <dgm:layoutNode name="childNode" styleLbl="revTx" moveWith="parentNode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21">
                <dgm:if name="Name22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23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tMarg"/>
                <dgm:constr type="bMarg"/>
                <dgm:constr type="lMarg"/>
                <dgm:constr type="rMarg"/>
              </dgm:constrLst>
              <dgm:ruleLst>
                <dgm:rule type="secFontSz" val="5" fact="NaN" max="NaN"/>
              </dgm:ruleLst>
            </dgm:layoutNode>
          </dgm:layoutNode>
        </dgm:forEach>
        <dgm:forEach name="Name24" axis="self" ptType="parTrans" cnt="1">
          <dgm:layoutNode name="Name25">
            <dgm:alg type="conn">
              <dgm:param type="srcNode" val="connSite"/>
              <dgm:param type="dstNode" val="parentNode"/>
              <dgm:param type="dim" val="1D"/>
              <dgm:param type="endSty" val="noArr"/>
              <dgm:param type="begPts" val="auto"/>
              <dgm:param type="endPts" val="auto"/>
            </dgm:alg>
            <dgm:shape xmlns:r="http://schemas.openxmlformats.org/officeDocument/2006/relationships" type="conn" r:blip="" zOrderOff="-99">
              <dgm:adjLst/>
            </dgm:shape>
            <dgm:presOf axis="self"/>
            <dgm:constrLst>
              <dgm:constr type="connDist"/>
              <dgm:constr type="w" val="1"/>
              <dgm:constr type="h" val="5"/>
              <dgm:constr type="begPad"/>
              <dgm:constr type="endPad"/>
            </dgm:constrLst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#1">
  <dgm:title val=""/>
  <dgm:desc val=""/>
  <dgm:catLst>
    <dgm:cat type="simple" pri="105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#1">
  <dgm:title val=""/>
  <dgm:desc val=""/>
  <dgm:catLst>
    <dgm:cat type="simple" pri="102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#1">
  <dgm:title val=""/>
  <dgm:desc val=""/>
  <dgm:catLst>
    <dgm:cat type="simple" pri="105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#3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#4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476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1050477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86DEB6-F8C1-4C7B-BFF2-2D5B875F2279}" type="datetimeFigureOut">
              <a:rPr lang="zh-CN" altLang="en-US" smtClean="0"/>
              <a:t>2021/9/25</a:t>
            </a:fld>
            <a:endParaRPr lang="zh-CN" altLang="en-US"/>
          </a:p>
        </p:txBody>
      </p:sp>
      <p:sp>
        <p:nvSpPr>
          <p:cNvPr id="1050478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1050479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0872E8-D064-4641-A592-6C7A770E24A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470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1050471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9/25</a:t>
            </a:fld>
            <a:endParaRPr lang="zh-CN" altLang="en-US"/>
          </a:p>
        </p:txBody>
      </p:sp>
      <p:sp>
        <p:nvSpPr>
          <p:cNvPr id="1050472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1050473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050474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1050475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344" name="矩形 5"/>
          <p:cNvSpPr/>
          <p:nvPr userDrawn="1"/>
        </p:nvSpPr>
        <p:spPr>
          <a:xfrm>
            <a:off x="1" y="0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049345" name="Freeform 13"/>
          <p:cNvSpPr/>
          <p:nvPr userDrawn="1"/>
        </p:nvSpPr>
        <p:spPr bwMode="auto">
          <a:xfrm>
            <a:off x="4963886" y="558775"/>
            <a:ext cx="7228115" cy="6005561"/>
          </a:xfrm>
          <a:custGeom>
            <a:avLst/>
            <a:gdLst>
              <a:gd name="T0" fmla="*/ 1288 w 1288"/>
              <a:gd name="T1" fmla="*/ 196 h 1096"/>
              <a:gd name="T2" fmla="*/ 920 w 1288"/>
              <a:gd name="T3" fmla="*/ 4 h 1096"/>
              <a:gd name="T4" fmla="*/ 428 w 1288"/>
              <a:gd name="T5" fmla="*/ 196 h 1096"/>
              <a:gd name="T6" fmla="*/ 188 w 1288"/>
              <a:gd name="T7" fmla="*/ 284 h 1096"/>
              <a:gd name="T8" fmla="*/ 24 w 1288"/>
              <a:gd name="T9" fmla="*/ 652 h 1096"/>
              <a:gd name="T10" fmla="*/ 544 w 1288"/>
              <a:gd name="T11" fmla="*/ 948 h 1096"/>
              <a:gd name="T12" fmla="*/ 748 w 1288"/>
              <a:gd name="T13" fmla="*/ 1080 h 1096"/>
              <a:gd name="T14" fmla="*/ 1288 w 1288"/>
              <a:gd name="T15" fmla="*/ 976 h 1096"/>
              <a:gd name="T16" fmla="*/ 1288 w 1288"/>
              <a:gd name="T17" fmla="*/ 196 h 10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88" h="1096">
                <a:moveTo>
                  <a:pt x="1288" y="196"/>
                </a:moveTo>
                <a:cubicBezTo>
                  <a:pt x="1288" y="196"/>
                  <a:pt x="1088" y="8"/>
                  <a:pt x="920" y="4"/>
                </a:cubicBezTo>
                <a:cubicBezTo>
                  <a:pt x="752" y="0"/>
                  <a:pt x="564" y="164"/>
                  <a:pt x="428" y="196"/>
                </a:cubicBezTo>
                <a:cubicBezTo>
                  <a:pt x="292" y="228"/>
                  <a:pt x="268" y="228"/>
                  <a:pt x="188" y="284"/>
                </a:cubicBezTo>
                <a:cubicBezTo>
                  <a:pt x="108" y="340"/>
                  <a:pt x="0" y="468"/>
                  <a:pt x="24" y="652"/>
                </a:cubicBezTo>
                <a:cubicBezTo>
                  <a:pt x="48" y="836"/>
                  <a:pt x="160" y="928"/>
                  <a:pt x="544" y="948"/>
                </a:cubicBezTo>
                <a:cubicBezTo>
                  <a:pt x="684" y="968"/>
                  <a:pt x="648" y="1064"/>
                  <a:pt x="748" y="1080"/>
                </a:cubicBezTo>
                <a:cubicBezTo>
                  <a:pt x="848" y="1096"/>
                  <a:pt x="1176" y="1040"/>
                  <a:pt x="1288" y="976"/>
                </a:cubicBezTo>
                <a:lnTo>
                  <a:pt x="1288" y="196"/>
                </a:lnTo>
                <a:close/>
              </a:path>
            </a:pathLst>
          </a:custGeom>
          <a:gradFill>
            <a:gsLst>
              <a:gs pos="48000">
                <a:schemeClr val="accent1">
                  <a:alpha val="16000"/>
                </a:schemeClr>
              </a:gs>
              <a:gs pos="100000">
                <a:schemeClr val="accent1">
                  <a:lumMod val="75000"/>
                  <a:alpha val="3000"/>
                </a:schemeClr>
              </a:gs>
            </a:gsLst>
            <a:path path="circle">
              <a:fillToRect l="100000" t="100000"/>
            </a:path>
          </a:gra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049346" name="Freeform 13"/>
          <p:cNvSpPr/>
          <p:nvPr userDrawn="1"/>
        </p:nvSpPr>
        <p:spPr bwMode="auto">
          <a:xfrm>
            <a:off x="5127257" y="311416"/>
            <a:ext cx="7064723" cy="6005561"/>
          </a:xfrm>
          <a:custGeom>
            <a:avLst/>
            <a:gdLst>
              <a:gd name="T0" fmla="*/ 1288 w 1288"/>
              <a:gd name="T1" fmla="*/ 196 h 1096"/>
              <a:gd name="T2" fmla="*/ 920 w 1288"/>
              <a:gd name="T3" fmla="*/ 4 h 1096"/>
              <a:gd name="T4" fmla="*/ 428 w 1288"/>
              <a:gd name="T5" fmla="*/ 196 h 1096"/>
              <a:gd name="T6" fmla="*/ 188 w 1288"/>
              <a:gd name="T7" fmla="*/ 284 h 1096"/>
              <a:gd name="T8" fmla="*/ 24 w 1288"/>
              <a:gd name="T9" fmla="*/ 652 h 1096"/>
              <a:gd name="T10" fmla="*/ 544 w 1288"/>
              <a:gd name="T11" fmla="*/ 948 h 1096"/>
              <a:gd name="T12" fmla="*/ 748 w 1288"/>
              <a:gd name="T13" fmla="*/ 1080 h 1096"/>
              <a:gd name="T14" fmla="*/ 1288 w 1288"/>
              <a:gd name="T15" fmla="*/ 976 h 1096"/>
              <a:gd name="T16" fmla="*/ 1288 w 1288"/>
              <a:gd name="T17" fmla="*/ 196 h 10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88" h="1096">
                <a:moveTo>
                  <a:pt x="1288" y="196"/>
                </a:moveTo>
                <a:cubicBezTo>
                  <a:pt x="1288" y="196"/>
                  <a:pt x="1088" y="8"/>
                  <a:pt x="920" y="4"/>
                </a:cubicBezTo>
                <a:cubicBezTo>
                  <a:pt x="752" y="0"/>
                  <a:pt x="564" y="164"/>
                  <a:pt x="428" y="196"/>
                </a:cubicBezTo>
                <a:cubicBezTo>
                  <a:pt x="292" y="228"/>
                  <a:pt x="268" y="228"/>
                  <a:pt x="188" y="284"/>
                </a:cubicBezTo>
                <a:cubicBezTo>
                  <a:pt x="108" y="340"/>
                  <a:pt x="0" y="468"/>
                  <a:pt x="24" y="652"/>
                </a:cubicBezTo>
                <a:cubicBezTo>
                  <a:pt x="48" y="836"/>
                  <a:pt x="160" y="928"/>
                  <a:pt x="544" y="948"/>
                </a:cubicBezTo>
                <a:cubicBezTo>
                  <a:pt x="684" y="968"/>
                  <a:pt x="648" y="1064"/>
                  <a:pt x="748" y="1080"/>
                </a:cubicBezTo>
                <a:cubicBezTo>
                  <a:pt x="848" y="1096"/>
                  <a:pt x="1176" y="1040"/>
                  <a:pt x="1288" y="976"/>
                </a:cubicBezTo>
                <a:lnTo>
                  <a:pt x="1288" y="196"/>
                </a:lnTo>
                <a:close/>
              </a:path>
            </a:pathLst>
          </a:custGeom>
          <a:blipFill>
            <a:blip r:embed="rId2"/>
            <a:srcRect/>
            <a:stretch>
              <a:fillRect l="-1621" r="-36331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049347" name="副标题 2"/>
          <p:cNvSpPr>
            <a:spLocks noGrp="1"/>
          </p:cNvSpPr>
          <p:nvPr userDrawn="1">
            <p:ph type="subTitle" idx="1"/>
          </p:nvPr>
        </p:nvSpPr>
        <p:spPr>
          <a:xfrm>
            <a:off x="685006" y="2423059"/>
            <a:ext cx="10821988" cy="558799"/>
          </a:xfrm>
        </p:spPr>
        <p:txBody>
          <a:bodyPr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49348" name="文本框 75"/>
          <p:cNvSpPr txBox="1"/>
          <p:nvPr userDrawn="1"/>
        </p:nvSpPr>
        <p:spPr>
          <a:xfrm>
            <a:off x="267700" y="839069"/>
            <a:ext cx="8739687" cy="3771877"/>
          </a:xfrm>
          <a:custGeom>
            <a:avLst/>
            <a:gdLst/>
            <a:ahLst/>
            <a:cxnLst/>
            <a:rect l="l" t="t" r="r" b="b"/>
            <a:pathLst>
              <a:path w="1939472" h="837038">
                <a:moveTo>
                  <a:pt x="1698613" y="123914"/>
                </a:moveTo>
                <a:cubicBezTo>
                  <a:pt x="1689987" y="123914"/>
                  <a:pt x="1681029" y="128144"/>
                  <a:pt x="1671740" y="136604"/>
                </a:cubicBezTo>
                <a:cubicBezTo>
                  <a:pt x="1662451" y="145064"/>
                  <a:pt x="1657806" y="167872"/>
                  <a:pt x="1657806" y="205030"/>
                </a:cubicBezTo>
                <a:lnTo>
                  <a:pt x="1657806" y="355816"/>
                </a:lnTo>
                <a:cubicBezTo>
                  <a:pt x="1657806" y="389656"/>
                  <a:pt x="1662202" y="410557"/>
                  <a:pt x="1670993" y="418519"/>
                </a:cubicBezTo>
                <a:cubicBezTo>
                  <a:pt x="1679785" y="426481"/>
                  <a:pt x="1688826" y="430462"/>
                  <a:pt x="1698115" y="430462"/>
                </a:cubicBezTo>
                <a:cubicBezTo>
                  <a:pt x="1712049" y="430462"/>
                  <a:pt x="1722251" y="425403"/>
                  <a:pt x="1728720" y="415284"/>
                </a:cubicBezTo>
                <a:cubicBezTo>
                  <a:pt x="1735189" y="405166"/>
                  <a:pt x="1738424" y="385343"/>
                  <a:pt x="1738424" y="355816"/>
                </a:cubicBezTo>
                <a:lnTo>
                  <a:pt x="1738424" y="210006"/>
                </a:lnTo>
                <a:cubicBezTo>
                  <a:pt x="1738424" y="174508"/>
                  <a:pt x="1735355" y="151284"/>
                  <a:pt x="1729218" y="140336"/>
                </a:cubicBezTo>
                <a:cubicBezTo>
                  <a:pt x="1723080" y="129388"/>
                  <a:pt x="1712878" y="123914"/>
                  <a:pt x="1698613" y="123914"/>
                </a:cubicBezTo>
                <a:close/>
                <a:moveTo>
                  <a:pt x="761181" y="123914"/>
                </a:moveTo>
                <a:cubicBezTo>
                  <a:pt x="746252" y="123914"/>
                  <a:pt x="736382" y="129637"/>
                  <a:pt x="731572" y="141082"/>
                </a:cubicBezTo>
                <a:cubicBezTo>
                  <a:pt x="726761" y="152528"/>
                  <a:pt x="724356" y="178986"/>
                  <a:pt x="724356" y="220457"/>
                </a:cubicBezTo>
                <a:lnTo>
                  <a:pt x="724356" y="613596"/>
                </a:lnTo>
                <a:cubicBezTo>
                  <a:pt x="724356" y="660374"/>
                  <a:pt x="726595" y="688574"/>
                  <a:pt x="731074" y="698195"/>
                </a:cubicBezTo>
                <a:cubicBezTo>
                  <a:pt x="735553" y="707816"/>
                  <a:pt x="745257" y="712627"/>
                  <a:pt x="760186" y="712627"/>
                </a:cubicBezTo>
                <a:cubicBezTo>
                  <a:pt x="775115" y="712627"/>
                  <a:pt x="784902" y="706987"/>
                  <a:pt x="789547" y="695707"/>
                </a:cubicBezTo>
                <a:cubicBezTo>
                  <a:pt x="794192" y="684427"/>
                  <a:pt x="796514" y="659047"/>
                  <a:pt x="796514" y="619567"/>
                </a:cubicBezTo>
                <a:lnTo>
                  <a:pt x="796514" y="220457"/>
                </a:lnTo>
                <a:cubicBezTo>
                  <a:pt x="796514" y="177659"/>
                  <a:pt x="794441" y="150869"/>
                  <a:pt x="790294" y="140087"/>
                </a:cubicBezTo>
                <a:cubicBezTo>
                  <a:pt x="786147" y="129305"/>
                  <a:pt x="776442" y="123914"/>
                  <a:pt x="761181" y="123914"/>
                </a:cubicBezTo>
                <a:close/>
                <a:moveTo>
                  <a:pt x="1257826" y="15427"/>
                </a:moveTo>
                <a:lnTo>
                  <a:pt x="1376265" y="15427"/>
                </a:lnTo>
                <a:lnTo>
                  <a:pt x="1376265" y="821113"/>
                </a:lnTo>
                <a:lnTo>
                  <a:pt x="1175217" y="821113"/>
                </a:lnTo>
                <a:lnTo>
                  <a:pt x="1175217" y="389158"/>
                </a:lnTo>
                <a:cubicBezTo>
                  <a:pt x="1175217" y="326787"/>
                  <a:pt x="1173724" y="289297"/>
                  <a:pt x="1170738" y="276690"/>
                </a:cubicBezTo>
                <a:cubicBezTo>
                  <a:pt x="1167752" y="264083"/>
                  <a:pt x="1159541" y="254545"/>
                  <a:pt x="1146104" y="248076"/>
                </a:cubicBezTo>
                <a:cubicBezTo>
                  <a:pt x="1132668" y="241607"/>
                  <a:pt x="1102726" y="238372"/>
                  <a:pt x="1056280" y="238372"/>
                </a:cubicBezTo>
                <a:lnTo>
                  <a:pt x="1036374" y="238372"/>
                </a:lnTo>
                <a:lnTo>
                  <a:pt x="1036374" y="144442"/>
                </a:lnTo>
                <a:cubicBezTo>
                  <a:pt x="1133580" y="123520"/>
                  <a:pt x="1207398" y="80515"/>
                  <a:pt x="1257826" y="15427"/>
                </a:cubicBezTo>
                <a:close/>
                <a:moveTo>
                  <a:pt x="1689655" y="0"/>
                </a:moveTo>
                <a:cubicBezTo>
                  <a:pt x="1743401" y="0"/>
                  <a:pt x="1787525" y="7465"/>
                  <a:pt x="1822028" y="22394"/>
                </a:cubicBezTo>
                <a:cubicBezTo>
                  <a:pt x="1856532" y="37324"/>
                  <a:pt x="1883239" y="58805"/>
                  <a:pt x="1902149" y="86839"/>
                </a:cubicBezTo>
                <a:cubicBezTo>
                  <a:pt x="1921060" y="114873"/>
                  <a:pt x="1932008" y="144317"/>
                  <a:pt x="1934994" y="175171"/>
                </a:cubicBezTo>
                <a:cubicBezTo>
                  <a:pt x="1937979" y="206025"/>
                  <a:pt x="1939472" y="265742"/>
                  <a:pt x="1939472" y="354323"/>
                </a:cubicBezTo>
                <a:lnTo>
                  <a:pt x="1939472" y="466293"/>
                </a:lnTo>
                <a:cubicBezTo>
                  <a:pt x="1939472" y="562172"/>
                  <a:pt x="1938145" y="626285"/>
                  <a:pt x="1935491" y="658632"/>
                </a:cubicBezTo>
                <a:cubicBezTo>
                  <a:pt x="1932837" y="690979"/>
                  <a:pt x="1921308" y="721584"/>
                  <a:pt x="1900905" y="750448"/>
                </a:cubicBezTo>
                <a:cubicBezTo>
                  <a:pt x="1880502" y="779311"/>
                  <a:pt x="1852882" y="800959"/>
                  <a:pt x="1818047" y="815390"/>
                </a:cubicBezTo>
                <a:cubicBezTo>
                  <a:pt x="1783212" y="829822"/>
                  <a:pt x="1742903" y="837038"/>
                  <a:pt x="1697120" y="837038"/>
                </a:cubicBezTo>
                <a:cubicBezTo>
                  <a:pt x="1640388" y="837038"/>
                  <a:pt x="1594025" y="827914"/>
                  <a:pt x="1558028" y="809667"/>
                </a:cubicBezTo>
                <a:cubicBezTo>
                  <a:pt x="1522032" y="791420"/>
                  <a:pt x="1496154" y="765709"/>
                  <a:pt x="1480396" y="732532"/>
                </a:cubicBezTo>
                <a:cubicBezTo>
                  <a:pt x="1464637" y="699356"/>
                  <a:pt x="1456758" y="657554"/>
                  <a:pt x="1456758" y="607126"/>
                </a:cubicBezTo>
                <a:lnTo>
                  <a:pt x="1657806" y="607126"/>
                </a:lnTo>
                <a:cubicBezTo>
                  <a:pt x="1657806" y="644615"/>
                  <a:pt x="1658303" y="668253"/>
                  <a:pt x="1659299" y="678040"/>
                </a:cubicBezTo>
                <a:cubicBezTo>
                  <a:pt x="1660294" y="687827"/>
                  <a:pt x="1664358" y="696039"/>
                  <a:pt x="1671491" y="702674"/>
                </a:cubicBezTo>
                <a:cubicBezTo>
                  <a:pt x="1678624" y="709309"/>
                  <a:pt x="1688328" y="712627"/>
                  <a:pt x="1700603" y="712627"/>
                </a:cubicBezTo>
                <a:cubicBezTo>
                  <a:pt x="1710888" y="712627"/>
                  <a:pt x="1719348" y="709475"/>
                  <a:pt x="1725983" y="703171"/>
                </a:cubicBezTo>
                <a:cubicBezTo>
                  <a:pt x="1732618" y="696868"/>
                  <a:pt x="1736351" y="688740"/>
                  <a:pt x="1737180" y="678787"/>
                </a:cubicBezTo>
                <a:cubicBezTo>
                  <a:pt x="1738009" y="668834"/>
                  <a:pt x="1738424" y="648762"/>
                  <a:pt x="1738424" y="618572"/>
                </a:cubicBezTo>
                <a:lnTo>
                  <a:pt x="1738424" y="490180"/>
                </a:lnTo>
                <a:cubicBezTo>
                  <a:pt x="1728471" y="511744"/>
                  <a:pt x="1713542" y="527918"/>
                  <a:pt x="1693636" y="538700"/>
                </a:cubicBezTo>
                <a:cubicBezTo>
                  <a:pt x="1673730" y="549482"/>
                  <a:pt x="1649014" y="554874"/>
                  <a:pt x="1619487" y="554874"/>
                </a:cubicBezTo>
                <a:cubicBezTo>
                  <a:pt x="1582662" y="554874"/>
                  <a:pt x="1550149" y="544921"/>
                  <a:pt x="1521949" y="525015"/>
                </a:cubicBezTo>
                <a:cubicBezTo>
                  <a:pt x="1493749" y="505109"/>
                  <a:pt x="1475834" y="481222"/>
                  <a:pt x="1468203" y="453354"/>
                </a:cubicBezTo>
                <a:cubicBezTo>
                  <a:pt x="1460573" y="425486"/>
                  <a:pt x="1456758" y="387831"/>
                  <a:pt x="1456758" y="340389"/>
                </a:cubicBezTo>
                <a:lnTo>
                  <a:pt x="1456758" y="276193"/>
                </a:lnTo>
                <a:cubicBezTo>
                  <a:pt x="1456758" y="219793"/>
                  <a:pt x="1458997" y="177825"/>
                  <a:pt x="1463476" y="150289"/>
                </a:cubicBezTo>
                <a:cubicBezTo>
                  <a:pt x="1467955" y="122753"/>
                  <a:pt x="1479483" y="97290"/>
                  <a:pt x="1498062" y="73901"/>
                </a:cubicBezTo>
                <a:cubicBezTo>
                  <a:pt x="1516641" y="50511"/>
                  <a:pt x="1542352" y="32347"/>
                  <a:pt x="1575197" y="19408"/>
                </a:cubicBezTo>
                <a:cubicBezTo>
                  <a:pt x="1608041" y="6470"/>
                  <a:pt x="1646194" y="0"/>
                  <a:pt x="1689655" y="0"/>
                </a:cubicBezTo>
                <a:close/>
                <a:moveTo>
                  <a:pt x="756703" y="0"/>
                </a:moveTo>
                <a:cubicBezTo>
                  <a:pt x="800827" y="0"/>
                  <a:pt x="840307" y="7714"/>
                  <a:pt x="875142" y="23141"/>
                </a:cubicBezTo>
                <a:cubicBezTo>
                  <a:pt x="909977" y="38568"/>
                  <a:pt x="936020" y="57395"/>
                  <a:pt x="953272" y="79623"/>
                </a:cubicBezTo>
                <a:cubicBezTo>
                  <a:pt x="970524" y="101851"/>
                  <a:pt x="982218" y="126900"/>
                  <a:pt x="988356" y="154768"/>
                </a:cubicBezTo>
                <a:cubicBezTo>
                  <a:pt x="994493" y="182636"/>
                  <a:pt x="997562" y="227092"/>
                  <a:pt x="997562" y="288136"/>
                </a:cubicBezTo>
                <a:lnTo>
                  <a:pt x="997562" y="556864"/>
                </a:lnTo>
                <a:cubicBezTo>
                  <a:pt x="997562" y="617908"/>
                  <a:pt x="994245" y="662365"/>
                  <a:pt x="987609" y="690233"/>
                </a:cubicBezTo>
                <a:cubicBezTo>
                  <a:pt x="980974" y="718101"/>
                  <a:pt x="967206" y="744144"/>
                  <a:pt x="946305" y="768363"/>
                </a:cubicBezTo>
                <a:cubicBezTo>
                  <a:pt x="925404" y="792582"/>
                  <a:pt x="900190" y="809999"/>
                  <a:pt x="870663" y="820615"/>
                </a:cubicBezTo>
                <a:cubicBezTo>
                  <a:pt x="841136" y="831232"/>
                  <a:pt x="808126" y="836540"/>
                  <a:pt x="771632" y="836540"/>
                </a:cubicBezTo>
                <a:cubicBezTo>
                  <a:pt x="723526" y="836540"/>
                  <a:pt x="683549" y="830983"/>
                  <a:pt x="651700" y="819869"/>
                </a:cubicBezTo>
                <a:cubicBezTo>
                  <a:pt x="619851" y="808755"/>
                  <a:pt x="594471" y="791420"/>
                  <a:pt x="575560" y="767865"/>
                </a:cubicBezTo>
                <a:cubicBezTo>
                  <a:pt x="556650" y="744310"/>
                  <a:pt x="543213" y="719511"/>
                  <a:pt x="535251" y="693467"/>
                </a:cubicBezTo>
                <a:cubicBezTo>
                  <a:pt x="527289" y="667424"/>
                  <a:pt x="523308" y="626037"/>
                  <a:pt x="523308" y="569305"/>
                </a:cubicBezTo>
                <a:lnTo>
                  <a:pt x="523308" y="288136"/>
                </a:lnTo>
                <a:cubicBezTo>
                  <a:pt x="523308" y="214153"/>
                  <a:pt x="529694" y="158749"/>
                  <a:pt x="542467" y="121923"/>
                </a:cubicBezTo>
                <a:cubicBezTo>
                  <a:pt x="555240" y="85098"/>
                  <a:pt x="580620" y="55571"/>
                  <a:pt x="618606" y="33343"/>
                </a:cubicBezTo>
                <a:cubicBezTo>
                  <a:pt x="656593" y="11114"/>
                  <a:pt x="702625" y="0"/>
                  <a:pt x="756703" y="0"/>
                </a:cubicBezTo>
                <a:close/>
                <a:moveTo>
                  <a:pt x="217470" y="0"/>
                </a:moveTo>
                <a:cubicBezTo>
                  <a:pt x="297425" y="0"/>
                  <a:pt x="357889" y="19823"/>
                  <a:pt x="398862" y="59469"/>
                </a:cubicBezTo>
                <a:cubicBezTo>
                  <a:pt x="439834" y="99114"/>
                  <a:pt x="460321" y="149294"/>
                  <a:pt x="460321" y="210006"/>
                </a:cubicBezTo>
                <a:cubicBezTo>
                  <a:pt x="460321" y="256121"/>
                  <a:pt x="448791" y="304890"/>
                  <a:pt x="425731" y="356313"/>
                </a:cubicBezTo>
                <a:cubicBezTo>
                  <a:pt x="402670" y="407737"/>
                  <a:pt x="334738" y="516887"/>
                  <a:pt x="221934" y="683763"/>
                </a:cubicBezTo>
                <a:lnTo>
                  <a:pt x="442406" y="683763"/>
                </a:lnTo>
                <a:lnTo>
                  <a:pt x="442406" y="821113"/>
                </a:lnTo>
                <a:lnTo>
                  <a:pt x="0" y="821113"/>
                </a:lnTo>
                <a:lnTo>
                  <a:pt x="124" y="706157"/>
                </a:lnTo>
                <a:cubicBezTo>
                  <a:pt x="131171" y="491839"/>
                  <a:pt x="209052" y="359216"/>
                  <a:pt x="233768" y="308291"/>
                </a:cubicBezTo>
                <a:cubicBezTo>
                  <a:pt x="258485" y="257365"/>
                  <a:pt x="270843" y="217637"/>
                  <a:pt x="270843" y="189105"/>
                </a:cubicBezTo>
                <a:cubicBezTo>
                  <a:pt x="270843" y="167209"/>
                  <a:pt x="267105" y="150869"/>
                  <a:pt x="259630" y="140087"/>
                </a:cubicBezTo>
                <a:cubicBezTo>
                  <a:pt x="252155" y="129305"/>
                  <a:pt x="240777" y="123914"/>
                  <a:pt x="225495" y="123914"/>
                </a:cubicBezTo>
                <a:cubicBezTo>
                  <a:pt x="210213" y="123914"/>
                  <a:pt x="198835" y="129885"/>
                  <a:pt x="191360" y="141829"/>
                </a:cubicBezTo>
                <a:cubicBezTo>
                  <a:pt x="183885" y="153772"/>
                  <a:pt x="180147" y="177493"/>
                  <a:pt x="180147" y="212992"/>
                </a:cubicBezTo>
                <a:lnTo>
                  <a:pt x="180147" y="289629"/>
                </a:lnTo>
                <a:lnTo>
                  <a:pt x="0" y="289629"/>
                </a:lnTo>
                <a:lnTo>
                  <a:pt x="0" y="260268"/>
                </a:lnTo>
                <a:cubicBezTo>
                  <a:pt x="0" y="215149"/>
                  <a:pt x="2322" y="179567"/>
                  <a:pt x="6967" y="153524"/>
                </a:cubicBezTo>
                <a:cubicBezTo>
                  <a:pt x="11612" y="127480"/>
                  <a:pt x="23057" y="101851"/>
                  <a:pt x="41304" y="76638"/>
                </a:cubicBezTo>
                <a:cubicBezTo>
                  <a:pt x="59551" y="51424"/>
                  <a:pt x="83272" y="32347"/>
                  <a:pt x="112468" y="19408"/>
                </a:cubicBezTo>
                <a:cubicBezTo>
                  <a:pt x="141663" y="6470"/>
                  <a:pt x="176664" y="0"/>
                  <a:pt x="217470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zh-CN" altLang="en-US" sz="8000" dirty="0">
              <a:latin typeface="Impact" panose="020B0806030902050204" pitchFamily="34" charset="0"/>
            </a:endParaRPr>
          </a:p>
        </p:txBody>
      </p:sp>
      <p:sp>
        <p:nvSpPr>
          <p:cNvPr id="1049349" name="标题 1"/>
          <p:cNvSpPr>
            <a:spLocks noGrp="1"/>
          </p:cNvSpPr>
          <p:nvPr userDrawn="1">
            <p:ph type="ctrTitle"/>
          </p:nvPr>
        </p:nvSpPr>
        <p:spPr>
          <a:xfrm>
            <a:off x="685006" y="1724468"/>
            <a:ext cx="10821988" cy="698591"/>
          </a:xfrm>
        </p:spPr>
        <p:txBody>
          <a:bodyPr lIns="0" tIns="0" rIns="0" bIns="0"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049350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5006" y="5544733"/>
            <a:ext cx="10845800" cy="296271"/>
          </a:xfrm>
        </p:spPr>
        <p:txBody>
          <a:bodyPr vert="horz" lIns="0" tIns="0" rIns="0" bIns="0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</a:lvl2pPr>
            <a:lvl3pPr marL="914400" indent="0">
              <a:buNone/>
            </a:lvl3pPr>
            <a:lvl4pPr marL="1371600" indent="0">
              <a:buNone/>
            </a:lvl4pPr>
            <a:lvl5pPr marL="1828800" indent="0">
              <a:buNone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049351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85006" y="5841004"/>
            <a:ext cx="10845800" cy="296271"/>
          </a:xfrm>
        </p:spPr>
        <p:txBody>
          <a:bodyPr vert="horz" lIns="0" tIns="0" rIns="0" bIns="0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</a:lvl2pPr>
            <a:lvl3pPr marL="914400" indent="0">
              <a:buNone/>
            </a:lvl3pPr>
            <a:lvl4pPr marL="1371600" indent="0">
              <a:buNone/>
            </a:lvl4pPr>
            <a:lvl5pPr marL="1828800" indent="0">
              <a:buNone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465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1796E6-787B-4185-AC2D-D9A775B9204C}" type="datetime1">
              <a:rPr lang="zh-CN" altLang="en-US" smtClean="0"/>
              <a:t>2021/9/25</a:t>
            </a:fld>
            <a:endParaRPr lang="zh-CN" altLang="en-US"/>
          </a:p>
        </p:txBody>
      </p:sp>
      <p:sp>
        <p:nvSpPr>
          <p:cNvPr id="1050466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中国石油大学专属答辩</a:t>
            </a:r>
            <a:r>
              <a:rPr lang="en-US" altLang="zh-CN"/>
              <a:t>PPT</a:t>
            </a:r>
            <a:r>
              <a:rPr lang="zh-CN" altLang="en-US"/>
              <a:t>模板</a:t>
            </a:r>
            <a:endParaRPr lang="zh-CN" altLang="en-US" dirty="0"/>
          </a:p>
        </p:txBody>
      </p:sp>
      <p:sp>
        <p:nvSpPr>
          <p:cNvPr id="1050467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050468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050469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/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16" name="标题 1"/>
          <p:cNvSpPr>
            <a:spLocks noGrp="1"/>
          </p:cNvSpPr>
          <p:nvPr userDrawn="1">
            <p:ph type="title"/>
          </p:nvPr>
        </p:nvSpPr>
        <p:spPr>
          <a:xfrm>
            <a:off x="6096000" y="2419538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048717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097116" y="3314888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8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1048582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66721E-3A9A-4832-9C70-956D5CCCFC40}" type="datetime1">
              <a:rPr lang="zh-CN" altLang="en-US" smtClean="0"/>
              <a:t>2021/9/25</a:t>
            </a:fld>
            <a:endParaRPr lang="zh-CN" altLang="en-US"/>
          </a:p>
        </p:txBody>
      </p:sp>
      <p:sp>
        <p:nvSpPr>
          <p:cNvPr id="1048583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中国石油大学专属答辩</a:t>
            </a:r>
            <a:r>
              <a:rPr lang="en-US" altLang="zh-CN"/>
              <a:t>PPT</a:t>
            </a:r>
            <a:r>
              <a:rPr lang="zh-CN" altLang="en-US"/>
              <a:t>模板</a:t>
            </a:r>
            <a:endParaRPr lang="zh-CN" altLang="en-US" dirty="0"/>
          </a:p>
        </p:txBody>
      </p:sp>
      <p:sp>
        <p:nvSpPr>
          <p:cNvPr id="1048584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grpSp>
        <p:nvGrpSpPr>
          <p:cNvPr id="21" name="组合 2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/>
          <p:nvPr userDrawn="1"/>
        </p:nvGrpSpPr>
        <p:grpSpPr>
          <a:xfrm>
            <a:off x="10073640" y="575806"/>
            <a:ext cx="1445260" cy="342314"/>
            <a:chOff x="2203450" y="2508250"/>
            <a:chExt cx="7788275" cy="1844675"/>
          </a:xfrm>
        </p:grpSpPr>
        <p:sp>
          <p:nvSpPr>
            <p:cNvPr id="1048585" name="íSľiḑê"/>
            <p:cNvSpPr/>
            <p:nvPr userDrawn="1"/>
          </p:nvSpPr>
          <p:spPr bwMode="auto">
            <a:xfrm>
              <a:off x="2203450" y="2508250"/>
              <a:ext cx="1838325" cy="1844675"/>
            </a:xfrm>
            <a:custGeom>
              <a:avLst/>
              <a:gdLst>
                <a:gd name="T0" fmla="*/ 520 w 691"/>
                <a:gd name="T1" fmla="*/ 58 h 691"/>
                <a:gd name="T2" fmla="*/ 512 w 691"/>
                <a:gd name="T3" fmla="*/ 53 h 691"/>
                <a:gd name="T4" fmla="*/ 475 w 691"/>
                <a:gd name="T5" fmla="*/ 35 h 691"/>
                <a:gd name="T6" fmla="*/ 376 w 691"/>
                <a:gd name="T7" fmla="*/ 11 h 691"/>
                <a:gd name="T8" fmla="*/ 153 w 691"/>
                <a:gd name="T9" fmla="*/ 70 h 691"/>
                <a:gd name="T10" fmla="*/ 68 w 691"/>
                <a:gd name="T11" fmla="*/ 156 h 691"/>
                <a:gd name="T12" fmla="*/ 66 w 691"/>
                <a:gd name="T13" fmla="*/ 159 h 691"/>
                <a:gd name="T14" fmla="*/ 62 w 691"/>
                <a:gd name="T15" fmla="*/ 164 h 691"/>
                <a:gd name="T16" fmla="*/ 58 w 691"/>
                <a:gd name="T17" fmla="*/ 172 h 691"/>
                <a:gd name="T18" fmla="*/ 40 w 691"/>
                <a:gd name="T19" fmla="*/ 205 h 691"/>
                <a:gd name="T20" fmla="*/ 35 w 691"/>
                <a:gd name="T21" fmla="*/ 218 h 691"/>
                <a:gd name="T22" fmla="*/ 29 w 691"/>
                <a:gd name="T23" fmla="*/ 233 h 691"/>
                <a:gd name="T24" fmla="*/ 94 w 691"/>
                <a:gd name="T25" fmla="*/ 567 h 691"/>
                <a:gd name="T26" fmla="*/ 430 w 691"/>
                <a:gd name="T27" fmla="*/ 670 h 691"/>
                <a:gd name="T28" fmla="*/ 478 w 691"/>
                <a:gd name="T29" fmla="*/ 654 h 691"/>
                <a:gd name="T30" fmla="*/ 485 w 691"/>
                <a:gd name="T31" fmla="*/ 651 h 691"/>
                <a:gd name="T32" fmla="*/ 518 w 691"/>
                <a:gd name="T33" fmla="*/ 634 h 691"/>
                <a:gd name="T34" fmla="*/ 526 w 691"/>
                <a:gd name="T35" fmla="*/ 628 h 691"/>
                <a:gd name="T36" fmla="*/ 533 w 691"/>
                <a:gd name="T37" fmla="*/ 624 h 691"/>
                <a:gd name="T38" fmla="*/ 541 w 691"/>
                <a:gd name="T39" fmla="*/ 618 h 691"/>
                <a:gd name="T40" fmla="*/ 548 w 691"/>
                <a:gd name="T41" fmla="*/ 613 h 691"/>
                <a:gd name="T42" fmla="*/ 556 w 691"/>
                <a:gd name="T43" fmla="*/ 607 h 691"/>
                <a:gd name="T44" fmla="*/ 566 w 691"/>
                <a:gd name="T45" fmla="*/ 599 h 691"/>
                <a:gd name="T46" fmla="*/ 573 w 691"/>
                <a:gd name="T47" fmla="*/ 592 h 691"/>
                <a:gd name="T48" fmla="*/ 591 w 691"/>
                <a:gd name="T49" fmla="*/ 574 h 691"/>
                <a:gd name="T50" fmla="*/ 604 w 691"/>
                <a:gd name="T51" fmla="*/ 559 h 691"/>
                <a:gd name="T52" fmla="*/ 608 w 691"/>
                <a:gd name="T53" fmla="*/ 555 h 691"/>
                <a:gd name="T54" fmla="*/ 612 w 691"/>
                <a:gd name="T55" fmla="*/ 549 h 691"/>
                <a:gd name="T56" fmla="*/ 674 w 691"/>
                <a:gd name="T57" fmla="*/ 416 h 691"/>
                <a:gd name="T58" fmla="*/ 678 w 691"/>
                <a:gd name="T59" fmla="*/ 394 h 691"/>
                <a:gd name="T60" fmla="*/ 658 w 691"/>
                <a:gd name="T61" fmla="*/ 223 h 691"/>
                <a:gd name="T62" fmla="*/ 652 w 691"/>
                <a:gd name="T63" fmla="*/ 207 h 691"/>
                <a:gd name="T64" fmla="*/ 642 w 691"/>
                <a:gd name="T65" fmla="*/ 189 h 691"/>
                <a:gd name="T66" fmla="*/ 631 w 691"/>
                <a:gd name="T67" fmla="*/ 168 h 691"/>
                <a:gd name="T68" fmla="*/ 593 w 691"/>
                <a:gd name="T69" fmla="*/ 118 h 691"/>
                <a:gd name="T70" fmla="*/ 331 w 691"/>
                <a:gd name="T71" fmla="*/ 0 h 691"/>
                <a:gd name="T72" fmla="*/ 537 w 691"/>
                <a:gd name="T73" fmla="*/ 58 h 691"/>
                <a:gd name="T74" fmla="*/ 554 w 691"/>
                <a:gd name="T75" fmla="*/ 70 h 691"/>
                <a:gd name="T76" fmla="*/ 558 w 691"/>
                <a:gd name="T77" fmla="*/ 73 h 691"/>
                <a:gd name="T78" fmla="*/ 571 w 691"/>
                <a:gd name="T79" fmla="*/ 84 h 691"/>
                <a:gd name="T80" fmla="*/ 575 w 691"/>
                <a:gd name="T81" fmla="*/ 87 h 691"/>
                <a:gd name="T82" fmla="*/ 600 w 691"/>
                <a:gd name="T83" fmla="*/ 112 h 691"/>
                <a:gd name="T84" fmla="*/ 617 w 691"/>
                <a:gd name="T85" fmla="*/ 131 h 691"/>
                <a:gd name="T86" fmla="*/ 691 w 691"/>
                <a:gd name="T87" fmla="*/ 355 h 691"/>
                <a:gd name="T88" fmla="*/ 491 w 691"/>
                <a:gd name="T89" fmla="*/ 659 h 691"/>
                <a:gd name="T90" fmla="*/ 201 w 691"/>
                <a:gd name="T91" fmla="*/ 660 h 691"/>
                <a:gd name="T92" fmla="*/ 130 w 691"/>
                <a:gd name="T93" fmla="*/ 616 h 691"/>
                <a:gd name="T94" fmla="*/ 120 w 691"/>
                <a:gd name="T95" fmla="*/ 608 h 691"/>
                <a:gd name="T96" fmla="*/ 95 w 691"/>
                <a:gd name="T97" fmla="*/ 583 h 691"/>
                <a:gd name="T98" fmla="*/ 83 w 691"/>
                <a:gd name="T99" fmla="*/ 571 h 691"/>
                <a:gd name="T100" fmla="*/ 75 w 691"/>
                <a:gd name="T101" fmla="*/ 561 h 691"/>
                <a:gd name="T102" fmla="*/ 71 w 691"/>
                <a:gd name="T103" fmla="*/ 556 h 691"/>
                <a:gd name="T104" fmla="*/ 68 w 691"/>
                <a:gd name="T105" fmla="*/ 551 h 691"/>
                <a:gd name="T106" fmla="*/ 0 w 691"/>
                <a:gd name="T107" fmla="*/ 360 h 691"/>
                <a:gd name="T108" fmla="*/ 24 w 691"/>
                <a:gd name="T109" fmla="*/ 220 h 691"/>
                <a:gd name="T110" fmla="*/ 25 w 691"/>
                <a:gd name="T111" fmla="*/ 215 h 691"/>
                <a:gd name="T112" fmla="*/ 27 w 691"/>
                <a:gd name="T113" fmla="*/ 213 h 691"/>
                <a:gd name="T114" fmla="*/ 36 w 691"/>
                <a:gd name="T115" fmla="*/ 191 h 691"/>
                <a:gd name="T116" fmla="*/ 63 w 691"/>
                <a:gd name="T117" fmla="*/ 146 h 691"/>
                <a:gd name="T118" fmla="*/ 331 w 691"/>
                <a:gd name="T119" fmla="*/ 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91" h="691">
                  <a:moveTo>
                    <a:pt x="525" y="61"/>
                  </a:moveTo>
                  <a:cubicBezTo>
                    <a:pt x="524" y="61"/>
                    <a:pt x="524" y="60"/>
                    <a:pt x="523" y="60"/>
                  </a:cubicBezTo>
                  <a:cubicBezTo>
                    <a:pt x="522" y="59"/>
                    <a:pt x="521" y="59"/>
                    <a:pt x="520" y="58"/>
                  </a:cubicBezTo>
                  <a:cubicBezTo>
                    <a:pt x="518" y="57"/>
                    <a:pt x="517" y="56"/>
                    <a:pt x="516" y="56"/>
                  </a:cubicBezTo>
                  <a:cubicBezTo>
                    <a:pt x="515" y="55"/>
                    <a:pt x="514" y="55"/>
                    <a:pt x="512" y="54"/>
                  </a:cubicBezTo>
                  <a:cubicBezTo>
                    <a:pt x="512" y="54"/>
                    <a:pt x="512" y="53"/>
                    <a:pt x="512" y="53"/>
                  </a:cubicBezTo>
                  <a:cubicBezTo>
                    <a:pt x="512" y="53"/>
                    <a:pt x="511" y="53"/>
                    <a:pt x="511" y="53"/>
                  </a:cubicBezTo>
                  <a:cubicBezTo>
                    <a:pt x="509" y="52"/>
                    <a:pt x="507" y="51"/>
                    <a:pt x="505" y="50"/>
                  </a:cubicBezTo>
                  <a:cubicBezTo>
                    <a:pt x="496" y="44"/>
                    <a:pt x="485" y="39"/>
                    <a:pt x="475" y="35"/>
                  </a:cubicBezTo>
                  <a:cubicBezTo>
                    <a:pt x="471" y="34"/>
                    <a:pt x="467" y="32"/>
                    <a:pt x="463" y="31"/>
                  </a:cubicBezTo>
                  <a:cubicBezTo>
                    <a:pt x="459" y="29"/>
                    <a:pt x="455" y="27"/>
                    <a:pt x="451" y="26"/>
                  </a:cubicBezTo>
                  <a:cubicBezTo>
                    <a:pt x="428" y="18"/>
                    <a:pt x="404" y="13"/>
                    <a:pt x="376" y="11"/>
                  </a:cubicBezTo>
                  <a:cubicBezTo>
                    <a:pt x="362" y="10"/>
                    <a:pt x="348" y="9"/>
                    <a:pt x="333" y="9"/>
                  </a:cubicBezTo>
                  <a:cubicBezTo>
                    <a:pt x="276" y="12"/>
                    <a:pt x="229" y="27"/>
                    <a:pt x="190" y="47"/>
                  </a:cubicBezTo>
                  <a:cubicBezTo>
                    <a:pt x="177" y="54"/>
                    <a:pt x="164" y="62"/>
                    <a:pt x="153" y="70"/>
                  </a:cubicBezTo>
                  <a:cubicBezTo>
                    <a:pt x="129" y="87"/>
                    <a:pt x="108" y="106"/>
                    <a:pt x="89" y="128"/>
                  </a:cubicBezTo>
                  <a:cubicBezTo>
                    <a:pt x="82" y="136"/>
                    <a:pt x="76" y="145"/>
                    <a:pt x="70" y="153"/>
                  </a:cubicBezTo>
                  <a:cubicBezTo>
                    <a:pt x="69" y="154"/>
                    <a:pt x="68" y="155"/>
                    <a:pt x="68" y="156"/>
                  </a:cubicBezTo>
                  <a:cubicBezTo>
                    <a:pt x="68" y="156"/>
                    <a:pt x="68" y="157"/>
                    <a:pt x="67" y="157"/>
                  </a:cubicBezTo>
                  <a:cubicBezTo>
                    <a:pt x="67" y="157"/>
                    <a:pt x="67" y="158"/>
                    <a:pt x="67" y="158"/>
                  </a:cubicBezTo>
                  <a:cubicBezTo>
                    <a:pt x="66" y="158"/>
                    <a:pt x="66" y="159"/>
                    <a:pt x="66" y="159"/>
                  </a:cubicBezTo>
                  <a:cubicBezTo>
                    <a:pt x="65" y="160"/>
                    <a:pt x="65" y="160"/>
                    <a:pt x="65" y="160"/>
                  </a:cubicBezTo>
                  <a:cubicBezTo>
                    <a:pt x="65" y="161"/>
                    <a:pt x="65" y="161"/>
                    <a:pt x="64" y="162"/>
                  </a:cubicBezTo>
                  <a:cubicBezTo>
                    <a:pt x="63" y="162"/>
                    <a:pt x="63" y="163"/>
                    <a:pt x="62" y="164"/>
                  </a:cubicBezTo>
                  <a:cubicBezTo>
                    <a:pt x="61" y="166"/>
                    <a:pt x="61" y="167"/>
                    <a:pt x="60" y="168"/>
                  </a:cubicBezTo>
                  <a:cubicBezTo>
                    <a:pt x="60" y="169"/>
                    <a:pt x="59" y="169"/>
                    <a:pt x="59" y="169"/>
                  </a:cubicBezTo>
                  <a:cubicBezTo>
                    <a:pt x="59" y="170"/>
                    <a:pt x="58" y="171"/>
                    <a:pt x="58" y="172"/>
                  </a:cubicBezTo>
                  <a:cubicBezTo>
                    <a:pt x="57" y="172"/>
                    <a:pt x="57" y="173"/>
                    <a:pt x="57" y="174"/>
                  </a:cubicBezTo>
                  <a:cubicBezTo>
                    <a:pt x="55" y="176"/>
                    <a:pt x="54" y="178"/>
                    <a:pt x="52" y="181"/>
                  </a:cubicBezTo>
                  <a:cubicBezTo>
                    <a:pt x="48" y="189"/>
                    <a:pt x="44" y="197"/>
                    <a:pt x="40" y="205"/>
                  </a:cubicBezTo>
                  <a:cubicBezTo>
                    <a:pt x="40" y="205"/>
                    <a:pt x="40" y="206"/>
                    <a:pt x="40" y="206"/>
                  </a:cubicBezTo>
                  <a:cubicBezTo>
                    <a:pt x="39" y="208"/>
                    <a:pt x="38" y="209"/>
                    <a:pt x="37" y="211"/>
                  </a:cubicBezTo>
                  <a:cubicBezTo>
                    <a:pt x="36" y="213"/>
                    <a:pt x="35" y="216"/>
                    <a:pt x="35" y="218"/>
                  </a:cubicBezTo>
                  <a:cubicBezTo>
                    <a:pt x="34" y="218"/>
                    <a:pt x="34" y="219"/>
                    <a:pt x="34" y="219"/>
                  </a:cubicBezTo>
                  <a:cubicBezTo>
                    <a:pt x="33" y="220"/>
                    <a:pt x="33" y="221"/>
                    <a:pt x="33" y="222"/>
                  </a:cubicBezTo>
                  <a:cubicBezTo>
                    <a:pt x="32" y="226"/>
                    <a:pt x="30" y="229"/>
                    <a:pt x="29" y="233"/>
                  </a:cubicBezTo>
                  <a:cubicBezTo>
                    <a:pt x="20" y="259"/>
                    <a:pt x="13" y="288"/>
                    <a:pt x="11" y="320"/>
                  </a:cubicBezTo>
                  <a:cubicBezTo>
                    <a:pt x="8" y="350"/>
                    <a:pt x="10" y="378"/>
                    <a:pt x="15" y="404"/>
                  </a:cubicBezTo>
                  <a:cubicBezTo>
                    <a:pt x="27" y="472"/>
                    <a:pt x="57" y="525"/>
                    <a:pt x="94" y="567"/>
                  </a:cubicBezTo>
                  <a:cubicBezTo>
                    <a:pt x="120" y="597"/>
                    <a:pt x="151" y="622"/>
                    <a:pt x="187" y="642"/>
                  </a:cubicBezTo>
                  <a:cubicBezTo>
                    <a:pt x="219" y="658"/>
                    <a:pt x="255" y="672"/>
                    <a:pt x="298" y="678"/>
                  </a:cubicBezTo>
                  <a:cubicBezTo>
                    <a:pt x="344" y="684"/>
                    <a:pt x="392" y="680"/>
                    <a:pt x="430" y="670"/>
                  </a:cubicBezTo>
                  <a:cubicBezTo>
                    <a:pt x="438" y="668"/>
                    <a:pt x="445" y="666"/>
                    <a:pt x="452" y="664"/>
                  </a:cubicBezTo>
                  <a:cubicBezTo>
                    <a:pt x="456" y="663"/>
                    <a:pt x="461" y="661"/>
                    <a:pt x="465" y="659"/>
                  </a:cubicBezTo>
                  <a:cubicBezTo>
                    <a:pt x="470" y="657"/>
                    <a:pt x="474" y="656"/>
                    <a:pt x="478" y="654"/>
                  </a:cubicBezTo>
                  <a:cubicBezTo>
                    <a:pt x="478" y="654"/>
                    <a:pt x="479" y="653"/>
                    <a:pt x="480" y="653"/>
                  </a:cubicBezTo>
                  <a:cubicBezTo>
                    <a:pt x="480" y="653"/>
                    <a:pt x="481" y="653"/>
                    <a:pt x="481" y="653"/>
                  </a:cubicBezTo>
                  <a:cubicBezTo>
                    <a:pt x="482" y="652"/>
                    <a:pt x="483" y="651"/>
                    <a:pt x="485" y="651"/>
                  </a:cubicBezTo>
                  <a:cubicBezTo>
                    <a:pt x="485" y="650"/>
                    <a:pt x="486" y="651"/>
                    <a:pt x="486" y="650"/>
                  </a:cubicBezTo>
                  <a:cubicBezTo>
                    <a:pt x="487" y="650"/>
                    <a:pt x="488" y="650"/>
                    <a:pt x="488" y="650"/>
                  </a:cubicBezTo>
                  <a:cubicBezTo>
                    <a:pt x="498" y="645"/>
                    <a:pt x="508" y="639"/>
                    <a:pt x="518" y="634"/>
                  </a:cubicBezTo>
                  <a:cubicBezTo>
                    <a:pt x="519" y="633"/>
                    <a:pt x="521" y="632"/>
                    <a:pt x="522" y="631"/>
                  </a:cubicBezTo>
                  <a:cubicBezTo>
                    <a:pt x="522" y="631"/>
                    <a:pt x="523" y="630"/>
                    <a:pt x="523" y="630"/>
                  </a:cubicBezTo>
                  <a:cubicBezTo>
                    <a:pt x="524" y="630"/>
                    <a:pt x="525" y="629"/>
                    <a:pt x="526" y="628"/>
                  </a:cubicBezTo>
                  <a:cubicBezTo>
                    <a:pt x="527" y="628"/>
                    <a:pt x="528" y="627"/>
                    <a:pt x="529" y="627"/>
                  </a:cubicBezTo>
                  <a:cubicBezTo>
                    <a:pt x="530" y="626"/>
                    <a:pt x="531" y="625"/>
                    <a:pt x="532" y="624"/>
                  </a:cubicBezTo>
                  <a:cubicBezTo>
                    <a:pt x="532" y="624"/>
                    <a:pt x="533" y="624"/>
                    <a:pt x="533" y="624"/>
                  </a:cubicBezTo>
                  <a:cubicBezTo>
                    <a:pt x="534" y="623"/>
                    <a:pt x="535" y="622"/>
                    <a:pt x="536" y="622"/>
                  </a:cubicBezTo>
                  <a:cubicBezTo>
                    <a:pt x="537" y="621"/>
                    <a:pt x="538" y="620"/>
                    <a:pt x="539" y="620"/>
                  </a:cubicBezTo>
                  <a:cubicBezTo>
                    <a:pt x="540" y="619"/>
                    <a:pt x="540" y="619"/>
                    <a:pt x="541" y="618"/>
                  </a:cubicBezTo>
                  <a:cubicBezTo>
                    <a:pt x="542" y="617"/>
                    <a:pt x="543" y="617"/>
                    <a:pt x="544" y="616"/>
                  </a:cubicBezTo>
                  <a:cubicBezTo>
                    <a:pt x="544" y="616"/>
                    <a:pt x="545" y="616"/>
                    <a:pt x="545" y="615"/>
                  </a:cubicBezTo>
                  <a:cubicBezTo>
                    <a:pt x="546" y="615"/>
                    <a:pt x="547" y="614"/>
                    <a:pt x="548" y="613"/>
                  </a:cubicBezTo>
                  <a:cubicBezTo>
                    <a:pt x="548" y="613"/>
                    <a:pt x="549" y="613"/>
                    <a:pt x="549" y="612"/>
                  </a:cubicBezTo>
                  <a:cubicBezTo>
                    <a:pt x="551" y="611"/>
                    <a:pt x="552" y="610"/>
                    <a:pt x="553" y="609"/>
                  </a:cubicBezTo>
                  <a:cubicBezTo>
                    <a:pt x="554" y="609"/>
                    <a:pt x="555" y="608"/>
                    <a:pt x="556" y="607"/>
                  </a:cubicBezTo>
                  <a:cubicBezTo>
                    <a:pt x="556" y="607"/>
                    <a:pt x="557" y="606"/>
                    <a:pt x="558" y="605"/>
                  </a:cubicBezTo>
                  <a:cubicBezTo>
                    <a:pt x="559" y="604"/>
                    <a:pt x="560" y="604"/>
                    <a:pt x="561" y="603"/>
                  </a:cubicBezTo>
                  <a:cubicBezTo>
                    <a:pt x="562" y="602"/>
                    <a:pt x="564" y="600"/>
                    <a:pt x="566" y="599"/>
                  </a:cubicBezTo>
                  <a:cubicBezTo>
                    <a:pt x="566" y="598"/>
                    <a:pt x="567" y="597"/>
                    <a:pt x="568" y="597"/>
                  </a:cubicBezTo>
                  <a:cubicBezTo>
                    <a:pt x="569" y="596"/>
                    <a:pt x="570" y="595"/>
                    <a:pt x="571" y="595"/>
                  </a:cubicBezTo>
                  <a:cubicBezTo>
                    <a:pt x="571" y="594"/>
                    <a:pt x="572" y="593"/>
                    <a:pt x="573" y="592"/>
                  </a:cubicBezTo>
                  <a:cubicBezTo>
                    <a:pt x="574" y="591"/>
                    <a:pt x="576" y="589"/>
                    <a:pt x="578" y="588"/>
                  </a:cubicBezTo>
                  <a:cubicBezTo>
                    <a:pt x="582" y="583"/>
                    <a:pt x="582" y="583"/>
                    <a:pt x="582" y="583"/>
                  </a:cubicBezTo>
                  <a:cubicBezTo>
                    <a:pt x="585" y="580"/>
                    <a:pt x="589" y="577"/>
                    <a:pt x="591" y="574"/>
                  </a:cubicBezTo>
                  <a:cubicBezTo>
                    <a:pt x="592" y="574"/>
                    <a:pt x="592" y="573"/>
                    <a:pt x="592" y="573"/>
                  </a:cubicBezTo>
                  <a:cubicBezTo>
                    <a:pt x="593" y="572"/>
                    <a:pt x="593" y="572"/>
                    <a:pt x="593" y="572"/>
                  </a:cubicBezTo>
                  <a:cubicBezTo>
                    <a:pt x="597" y="567"/>
                    <a:pt x="601" y="563"/>
                    <a:pt x="604" y="559"/>
                  </a:cubicBezTo>
                  <a:cubicBezTo>
                    <a:pt x="605" y="559"/>
                    <a:pt x="606" y="558"/>
                    <a:pt x="606" y="557"/>
                  </a:cubicBezTo>
                  <a:cubicBezTo>
                    <a:pt x="607" y="557"/>
                    <a:pt x="607" y="556"/>
                    <a:pt x="607" y="556"/>
                  </a:cubicBezTo>
                  <a:cubicBezTo>
                    <a:pt x="607" y="555"/>
                    <a:pt x="608" y="555"/>
                    <a:pt x="608" y="555"/>
                  </a:cubicBezTo>
                  <a:cubicBezTo>
                    <a:pt x="608" y="555"/>
                    <a:pt x="608" y="554"/>
                    <a:pt x="608" y="554"/>
                  </a:cubicBezTo>
                  <a:cubicBezTo>
                    <a:pt x="609" y="553"/>
                    <a:pt x="610" y="553"/>
                    <a:pt x="611" y="552"/>
                  </a:cubicBezTo>
                  <a:cubicBezTo>
                    <a:pt x="611" y="551"/>
                    <a:pt x="612" y="550"/>
                    <a:pt x="612" y="549"/>
                  </a:cubicBezTo>
                  <a:cubicBezTo>
                    <a:pt x="622" y="537"/>
                    <a:pt x="630" y="524"/>
                    <a:pt x="638" y="510"/>
                  </a:cubicBezTo>
                  <a:cubicBezTo>
                    <a:pt x="652" y="485"/>
                    <a:pt x="664" y="456"/>
                    <a:pt x="672" y="425"/>
                  </a:cubicBezTo>
                  <a:cubicBezTo>
                    <a:pt x="673" y="422"/>
                    <a:pt x="674" y="419"/>
                    <a:pt x="674" y="416"/>
                  </a:cubicBezTo>
                  <a:cubicBezTo>
                    <a:pt x="675" y="412"/>
                    <a:pt x="675" y="408"/>
                    <a:pt x="676" y="404"/>
                  </a:cubicBezTo>
                  <a:cubicBezTo>
                    <a:pt x="676" y="403"/>
                    <a:pt x="677" y="403"/>
                    <a:pt x="677" y="402"/>
                  </a:cubicBezTo>
                  <a:cubicBezTo>
                    <a:pt x="677" y="400"/>
                    <a:pt x="677" y="397"/>
                    <a:pt x="678" y="394"/>
                  </a:cubicBezTo>
                  <a:cubicBezTo>
                    <a:pt x="679" y="386"/>
                    <a:pt x="680" y="378"/>
                    <a:pt x="681" y="369"/>
                  </a:cubicBezTo>
                  <a:cubicBezTo>
                    <a:pt x="684" y="320"/>
                    <a:pt x="676" y="275"/>
                    <a:pt x="665" y="240"/>
                  </a:cubicBezTo>
                  <a:cubicBezTo>
                    <a:pt x="663" y="234"/>
                    <a:pt x="660" y="228"/>
                    <a:pt x="658" y="223"/>
                  </a:cubicBezTo>
                  <a:cubicBezTo>
                    <a:pt x="657" y="220"/>
                    <a:pt x="656" y="217"/>
                    <a:pt x="655" y="214"/>
                  </a:cubicBezTo>
                  <a:cubicBezTo>
                    <a:pt x="655" y="214"/>
                    <a:pt x="654" y="214"/>
                    <a:pt x="654" y="213"/>
                  </a:cubicBezTo>
                  <a:cubicBezTo>
                    <a:pt x="653" y="211"/>
                    <a:pt x="653" y="209"/>
                    <a:pt x="652" y="207"/>
                  </a:cubicBezTo>
                  <a:cubicBezTo>
                    <a:pt x="651" y="205"/>
                    <a:pt x="650" y="203"/>
                    <a:pt x="649" y="201"/>
                  </a:cubicBezTo>
                  <a:cubicBezTo>
                    <a:pt x="648" y="199"/>
                    <a:pt x="647" y="196"/>
                    <a:pt x="646" y="194"/>
                  </a:cubicBezTo>
                  <a:cubicBezTo>
                    <a:pt x="645" y="192"/>
                    <a:pt x="644" y="191"/>
                    <a:pt x="642" y="189"/>
                  </a:cubicBezTo>
                  <a:cubicBezTo>
                    <a:pt x="641" y="187"/>
                    <a:pt x="641" y="184"/>
                    <a:pt x="639" y="182"/>
                  </a:cubicBezTo>
                  <a:cubicBezTo>
                    <a:pt x="638" y="180"/>
                    <a:pt x="636" y="176"/>
                    <a:pt x="634" y="174"/>
                  </a:cubicBezTo>
                  <a:cubicBezTo>
                    <a:pt x="633" y="172"/>
                    <a:pt x="632" y="170"/>
                    <a:pt x="631" y="168"/>
                  </a:cubicBezTo>
                  <a:cubicBezTo>
                    <a:pt x="630" y="167"/>
                    <a:pt x="630" y="166"/>
                    <a:pt x="629" y="165"/>
                  </a:cubicBezTo>
                  <a:cubicBezTo>
                    <a:pt x="620" y="150"/>
                    <a:pt x="609" y="136"/>
                    <a:pt x="598" y="123"/>
                  </a:cubicBezTo>
                  <a:cubicBezTo>
                    <a:pt x="596" y="121"/>
                    <a:pt x="594" y="120"/>
                    <a:pt x="593" y="118"/>
                  </a:cubicBezTo>
                  <a:cubicBezTo>
                    <a:pt x="591" y="116"/>
                    <a:pt x="589" y="114"/>
                    <a:pt x="588" y="112"/>
                  </a:cubicBezTo>
                  <a:cubicBezTo>
                    <a:pt x="569" y="93"/>
                    <a:pt x="548" y="75"/>
                    <a:pt x="525" y="61"/>
                  </a:cubicBezTo>
                  <a:close/>
                  <a:moveTo>
                    <a:pt x="331" y="0"/>
                  </a:moveTo>
                  <a:cubicBezTo>
                    <a:pt x="360" y="0"/>
                    <a:pt x="360" y="0"/>
                    <a:pt x="360" y="0"/>
                  </a:cubicBezTo>
                  <a:cubicBezTo>
                    <a:pt x="385" y="2"/>
                    <a:pt x="408" y="5"/>
                    <a:pt x="429" y="10"/>
                  </a:cubicBezTo>
                  <a:cubicBezTo>
                    <a:pt x="470" y="20"/>
                    <a:pt x="506" y="37"/>
                    <a:pt x="537" y="58"/>
                  </a:cubicBezTo>
                  <a:cubicBezTo>
                    <a:pt x="540" y="60"/>
                    <a:pt x="543" y="62"/>
                    <a:pt x="546" y="64"/>
                  </a:cubicBezTo>
                  <a:cubicBezTo>
                    <a:pt x="549" y="66"/>
                    <a:pt x="551" y="68"/>
                    <a:pt x="553" y="69"/>
                  </a:cubicBezTo>
                  <a:cubicBezTo>
                    <a:pt x="553" y="70"/>
                    <a:pt x="554" y="70"/>
                    <a:pt x="554" y="70"/>
                  </a:cubicBezTo>
                  <a:cubicBezTo>
                    <a:pt x="554" y="70"/>
                    <a:pt x="555" y="71"/>
                    <a:pt x="555" y="71"/>
                  </a:cubicBezTo>
                  <a:cubicBezTo>
                    <a:pt x="555" y="71"/>
                    <a:pt x="556" y="71"/>
                    <a:pt x="556" y="71"/>
                  </a:cubicBezTo>
                  <a:cubicBezTo>
                    <a:pt x="557" y="72"/>
                    <a:pt x="557" y="72"/>
                    <a:pt x="558" y="73"/>
                  </a:cubicBezTo>
                  <a:cubicBezTo>
                    <a:pt x="560" y="75"/>
                    <a:pt x="562" y="77"/>
                    <a:pt x="565" y="79"/>
                  </a:cubicBezTo>
                  <a:cubicBezTo>
                    <a:pt x="567" y="80"/>
                    <a:pt x="568" y="81"/>
                    <a:pt x="570" y="83"/>
                  </a:cubicBezTo>
                  <a:cubicBezTo>
                    <a:pt x="570" y="83"/>
                    <a:pt x="571" y="84"/>
                    <a:pt x="571" y="84"/>
                  </a:cubicBezTo>
                  <a:cubicBezTo>
                    <a:pt x="571" y="84"/>
                    <a:pt x="572" y="84"/>
                    <a:pt x="572" y="84"/>
                  </a:cubicBezTo>
                  <a:cubicBezTo>
                    <a:pt x="573" y="85"/>
                    <a:pt x="573" y="86"/>
                    <a:pt x="574" y="86"/>
                  </a:cubicBezTo>
                  <a:cubicBezTo>
                    <a:pt x="574" y="87"/>
                    <a:pt x="575" y="87"/>
                    <a:pt x="575" y="87"/>
                  </a:cubicBezTo>
                  <a:cubicBezTo>
                    <a:pt x="577" y="88"/>
                    <a:pt x="578" y="90"/>
                    <a:pt x="579" y="91"/>
                  </a:cubicBezTo>
                  <a:cubicBezTo>
                    <a:pt x="584" y="96"/>
                    <a:pt x="590" y="101"/>
                    <a:pt x="595" y="107"/>
                  </a:cubicBezTo>
                  <a:cubicBezTo>
                    <a:pt x="597" y="108"/>
                    <a:pt x="599" y="110"/>
                    <a:pt x="600" y="112"/>
                  </a:cubicBezTo>
                  <a:cubicBezTo>
                    <a:pt x="601" y="112"/>
                    <a:pt x="601" y="113"/>
                    <a:pt x="601" y="114"/>
                  </a:cubicBezTo>
                  <a:cubicBezTo>
                    <a:pt x="603" y="116"/>
                    <a:pt x="606" y="118"/>
                    <a:pt x="608" y="120"/>
                  </a:cubicBezTo>
                  <a:cubicBezTo>
                    <a:pt x="611" y="124"/>
                    <a:pt x="614" y="127"/>
                    <a:pt x="617" y="131"/>
                  </a:cubicBezTo>
                  <a:cubicBezTo>
                    <a:pt x="642" y="164"/>
                    <a:pt x="663" y="201"/>
                    <a:pt x="677" y="247"/>
                  </a:cubicBezTo>
                  <a:cubicBezTo>
                    <a:pt x="685" y="274"/>
                    <a:pt x="690" y="304"/>
                    <a:pt x="691" y="337"/>
                  </a:cubicBezTo>
                  <a:cubicBezTo>
                    <a:pt x="691" y="355"/>
                    <a:pt x="691" y="355"/>
                    <a:pt x="691" y="355"/>
                  </a:cubicBezTo>
                  <a:cubicBezTo>
                    <a:pt x="689" y="408"/>
                    <a:pt x="677" y="453"/>
                    <a:pt x="659" y="491"/>
                  </a:cubicBezTo>
                  <a:cubicBezTo>
                    <a:pt x="641" y="530"/>
                    <a:pt x="618" y="562"/>
                    <a:pt x="590" y="590"/>
                  </a:cubicBezTo>
                  <a:cubicBezTo>
                    <a:pt x="562" y="618"/>
                    <a:pt x="529" y="642"/>
                    <a:pt x="491" y="659"/>
                  </a:cubicBezTo>
                  <a:cubicBezTo>
                    <a:pt x="452" y="677"/>
                    <a:pt x="408" y="689"/>
                    <a:pt x="355" y="691"/>
                  </a:cubicBezTo>
                  <a:cubicBezTo>
                    <a:pt x="336" y="691"/>
                    <a:pt x="336" y="691"/>
                    <a:pt x="336" y="691"/>
                  </a:cubicBezTo>
                  <a:cubicBezTo>
                    <a:pt x="284" y="689"/>
                    <a:pt x="239" y="678"/>
                    <a:pt x="201" y="660"/>
                  </a:cubicBezTo>
                  <a:cubicBezTo>
                    <a:pt x="176" y="648"/>
                    <a:pt x="154" y="634"/>
                    <a:pt x="133" y="618"/>
                  </a:cubicBezTo>
                  <a:cubicBezTo>
                    <a:pt x="132" y="618"/>
                    <a:pt x="131" y="617"/>
                    <a:pt x="130" y="616"/>
                  </a:cubicBezTo>
                  <a:cubicBezTo>
                    <a:pt x="130" y="616"/>
                    <a:pt x="130" y="616"/>
                    <a:pt x="130" y="616"/>
                  </a:cubicBezTo>
                  <a:cubicBezTo>
                    <a:pt x="128" y="615"/>
                    <a:pt x="126" y="613"/>
                    <a:pt x="124" y="611"/>
                  </a:cubicBezTo>
                  <a:cubicBezTo>
                    <a:pt x="124" y="611"/>
                    <a:pt x="124" y="611"/>
                    <a:pt x="123" y="611"/>
                  </a:cubicBezTo>
                  <a:cubicBezTo>
                    <a:pt x="122" y="610"/>
                    <a:pt x="121" y="609"/>
                    <a:pt x="120" y="608"/>
                  </a:cubicBezTo>
                  <a:cubicBezTo>
                    <a:pt x="116" y="604"/>
                    <a:pt x="112" y="600"/>
                    <a:pt x="108" y="597"/>
                  </a:cubicBezTo>
                  <a:cubicBezTo>
                    <a:pt x="104" y="593"/>
                    <a:pt x="100" y="590"/>
                    <a:pt x="97" y="586"/>
                  </a:cubicBezTo>
                  <a:cubicBezTo>
                    <a:pt x="96" y="585"/>
                    <a:pt x="96" y="584"/>
                    <a:pt x="95" y="583"/>
                  </a:cubicBezTo>
                  <a:cubicBezTo>
                    <a:pt x="94" y="582"/>
                    <a:pt x="93" y="582"/>
                    <a:pt x="92" y="581"/>
                  </a:cubicBezTo>
                  <a:cubicBezTo>
                    <a:pt x="90" y="579"/>
                    <a:pt x="89" y="577"/>
                    <a:pt x="87" y="575"/>
                  </a:cubicBezTo>
                  <a:cubicBezTo>
                    <a:pt x="86" y="574"/>
                    <a:pt x="85" y="573"/>
                    <a:pt x="83" y="571"/>
                  </a:cubicBezTo>
                  <a:cubicBezTo>
                    <a:pt x="82" y="570"/>
                    <a:pt x="80" y="567"/>
                    <a:pt x="79" y="565"/>
                  </a:cubicBezTo>
                  <a:cubicBezTo>
                    <a:pt x="78" y="565"/>
                    <a:pt x="78" y="564"/>
                    <a:pt x="78" y="564"/>
                  </a:cubicBezTo>
                  <a:cubicBezTo>
                    <a:pt x="77" y="563"/>
                    <a:pt x="76" y="562"/>
                    <a:pt x="75" y="561"/>
                  </a:cubicBezTo>
                  <a:cubicBezTo>
                    <a:pt x="75" y="561"/>
                    <a:pt x="75" y="560"/>
                    <a:pt x="75" y="560"/>
                  </a:cubicBezTo>
                  <a:cubicBezTo>
                    <a:pt x="74" y="560"/>
                    <a:pt x="74" y="560"/>
                    <a:pt x="74" y="560"/>
                  </a:cubicBezTo>
                  <a:cubicBezTo>
                    <a:pt x="73" y="559"/>
                    <a:pt x="72" y="557"/>
                    <a:pt x="71" y="556"/>
                  </a:cubicBezTo>
                  <a:cubicBezTo>
                    <a:pt x="71" y="556"/>
                    <a:pt x="70" y="555"/>
                    <a:pt x="70" y="554"/>
                  </a:cubicBezTo>
                  <a:cubicBezTo>
                    <a:pt x="70" y="554"/>
                    <a:pt x="69" y="554"/>
                    <a:pt x="69" y="553"/>
                  </a:cubicBezTo>
                  <a:cubicBezTo>
                    <a:pt x="69" y="553"/>
                    <a:pt x="68" y="552"/>
                    <a:pt x="68" y="551"/>
                  </a:cubicBezTo>
                  <a:cubicBezTo>
                    <a:pt x="67" y="551"/>
                    <a:pt x="67" y="550"/>
                    <a:pt x="67" y="550"/>
                  </a:cubicBezTo>
                  <a:cubicBezTo>
                    <a:pt x="66" y="549"/>
                    <a:pt x="65" y="548"/>
                    <a:pt x="64" y="546"/>
                  </a:cubicBezTo>
                  <a:cubicBezTo>
                    <a:pt x="30" y="498"/>
                    <a:pt x="4" y="438"/>
                    <a:pt x="0" y="360"/>
                  </a:cubicBezTo>
                  <a:cubicBezTo>
                    <a:pt x="0" y="331"/>
                    <a:pt x="0" y="331"/>
                    <a:pt x="0" y="331"/>
                  </a:cubicBezTo>
                  <a:cubicBezTo>
                    <a:pt x="0" y="331"/>
                    <a:pt x="0" y="331"/>
                    <a:pt x="0" y="331"/>
                  </a:cubicBezTo>
                  <a:cubicBezTo>
                    <a:pt x="2" y="289"/>
                    <a:pt x="11" y="251"/>
                    <a:pt x="24" y="220"/>
                  </a:cubicBezTo>
                  <a:cubicBezTo>
                    <a:pt x="24" y="219"/>
                    <a:pt x="24" y="218"/>
                    <a:pt x="24" y="217"/>
                  </a:cubicBezTo>
                  <a:cubicBezTo>
                    <a:pt x="24" y="217"/>
                    <a:pt x="25" y="217"/>
                    <a:pt x="25" y="216"/>
                  </a:cubicBezTo>
                  <a:cubicBezTo>
                    <a:pt x="25" y="216"/>
                    <a:pt x="25" y="216"/>
                    <a:pt x="25" y="215"/>
                  </a:cubicBezTo>
                  <a:cubicBezTo>
                    <a:pt x="25" y="215"/>
                    <a:pt x="26" y="215"/>
                    <a:pt x="26" y="214"/>
                  </a:cubicBezTo>
                  <a:cubicBezTo>
                    <a:pt x="26" y="214"/>
                    <a:pt x="26" y="214"/>
                    <a:pt x="26" y="213"/>
                  </a:cubicBezTo>
                  <a:cubicBezTo>
                    <a:pt x="26" y="213"/>
                    <a:pt x="26" y="213"/>
                    <a:pt x="27" y="213"/>
                  </a:cubicBezTo>
                  <a:cubicBezTo>
                    <a:pt x="28" y="209"/>
                    <a:pt x="30" y="205"/>
                    <a:pt x="31" y="202"/>
                  </a:cubicBezTo>
                  <a:cubicBezTo>
                    <a:pt x="32" y="200"/>
                    <a:pt x="32" y="199"/>
                    <a:pt x="33" y="198"/>
                  </a:cubicBezTo>
                  <a:cubicBezTo>
                    <a:pt x="34" y="196"/>
                    <a:pt x="35" y="193"/>
                    <a:pt x="36" y="191"/>
                  </a:cubicBezTo>
                  <a:cubicBezTo>
                    <a:pt x="37" y="189"/>
                    <a:pt x="39" y="187"/>
                    <a:pt x="40" y="184"/>
                  </a:cubicBezTo>
                  <a:cubicBezTo>
                    <a:pt x="41" y="182"/>
                    <a:pt x="42" y="180"/>
                    <a:pt x="43" y="178"/>
                  </a:cubicBezTo>
                  <a:cubicBezTo>
                    <a:pt x="50" y="166"/>
                    <a:pt x="56" y="156"/>
                    <a:pt x="63" y="146"/>
                  </a:cubicBezTo>
                  <a:cubicBezTo>
                    <a:pt x="87" y="113"/>
                    <a:pt x="114" y="86"/>
                    <a:pt x="146" y="63"/>
                  </a:cubicBezTo>
                  <a:cubicBezTo>
                    <a:pt x="162" y="52"/>
                    <a:pt x="180" y="42"/>
                    <a:pt x="198" y="33"/>
                  </a:cubicBezTo>
                  <a:cubicBezTo>
                    <a:pt x="236" y="15"/>
                    <a:pt x="280" y="3"/>
                    <a:pt x="331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586" name="is1ídé"/>
            <p:cNvSpPr/>
            <p:nvPr userDrawn="1"/>
          </p:nvSpPr>
          <p:spPr bwMode="auto">
            <a:xfrm>
              <a:off x="2255838" y="2562225"/>
              <a:ext cx="1731963" cy="1731963"/>
            </a:xfrm>
            <a:custGeom>
              <a:avLst/>
              <a:gdLst>
                <a:gd name="T0" fmla="*/ 340 w 651"/>
                <a:gd name="T1" fmla="*/ 604 h 649"/>
                <a:gd name="T2" fmla="*/ 224 w 651"/>
                <a:gd name="T3" fmla="*/ 580 h 649"/>
                <a:gd name="T4" fmla="*/ 292 w 651"/>
                <a:gd name="T5" fmla="*/ 580 h 649"/>
                <a:gd name="T6" fmla="*/ 422 w 651"/>
                <a:gd name="T7" fmla="*/ 593 h 649"/>
                <a:gd name="T8" fmla="*/ 231 w 651"/>
                <a:gd name="T9" fmla="*/ 570 h 649"/>
                <a:gd name="T10" fmla="*/ 221 w 651"/>
                <a:gd name="T11" fmla="*/ 582 h 649"/>
                <a:gd name="T12" fmla="*/ 216 w 651"/>
                <a:gd name="T13" fmla="*/ 615 h 649"/>
                <a:gd name="T14" fmla="*/ 199 w 651"/>
                <a:gd name="T15" fmla="*/ 556 h 649"/>
                <a:gd name="T16" fmla="*/ 483 w 651"/>
                <a:gd name="T17" fmla="*/ 550 h 649"/>
                <a:gd name="T18" fmla="*/ 132 w 651"/>
                <a:gd name="T19" fmla="*/ 567 h 649"/>
                <a:gd name="T20" fmla="*/ 485 w 651"/>
                <a:gd name="T21" fmla="*/ 522 h 649"/>
                <a:gd name="T22" fmla="*/ 475 w 651"/>
                <a:gd name="T23" fmla="*/ 537 h 649"/>
                <a:gd name="T24" fmla="*/ 482 w 651"/>
                <a:gd name="T25" fmla="*/ 552 h 649"/>
                <a:gd name="T26" fmla="*/ 265 w 651"/>
                <a:gd name="T27" fmla="*/ 425 h 649"/>
                <a:gd name="T28" fmla="*/ 50 w 651"/>
                <a:gd name="T29" fmla="*/ 422 h 649"/>
                <a:gd name="T30" fmla="*/ 571 w 651"/>
                <a:gd name="T31" fmla="*/ 400 h 649"/>
                <a:gd name="T32" fmla="*/ 418 w 651"/>
                <a:gd name="T33" fmla="*/ 369 h 649"/>
                <a:gd name="T34" fmla="*/ 47 w 651"/>
                <a:gd name="T35" fmla="*/ 383 h 649"/>
                <a:gd name="T36" fmla="*/ 615 w 651"/>
                <a:gd name="T37" fmla="*/ 381 h 649"/>
                <a:gd name="T38" fmla="*/ 300 w 651"/>
                <a:gd name="T39" fmla="*/ 318 h 649"/>
                <a:gd name="T40" fmla="*/ 65 w 651"/>
                <a:gd name="T41" fmla="*/ 303 h 649"/>
                <a:gd name="T42" fmla="*/ 423 w 651"/>
                <a:gd name="T43" fmla="*/ 258 h 649"/>
                <a:gd name="T44" fmla="*/ 281 w 651"/>
                <a:gd name="T45" fmla="*/ 242 h 649"/>
                <a:gd name="T46" fmla="*/ 264 w 651"/>
                <a:gd name="T47" fmla="*/ 231 h 649"/>
                <a:gd name="T48" fmla="*/ 305 w 651"/>
                <a:gd name="T49" fmla="*/ 207 h 649"/>
                <a:gd name="T50" fmla="*/ 191 w 651"/>
                <a:gd name="T51" fmla="*/ 283 h 649"/>
                <a:gd name="T52" fmla="*/ 231 w 651"/>
                <a:gd name="T53" fmla="*/ 223 h 649"/>
                <a:gd name="T54" fmla="*/ 273 w 651"/>
                <a:gd name="T55" fmla="*/ 311 h 649"/>
                <a:gd name="T56" fmla="*/ 439 w 651"/>
                <a:gd name="T57" fmla="*/ 194 h 649"/>
                <a:gd name="T58" fmla="*/ 60 w 651"/>
                <a:gd name="T59" fmla="*/ 185 h 649"/>
                <a:gd name="T60" fmla="*/ 404 w 651"/>
                <a:gd name="T61" fmla="*/ 183 h 649"/>
                <a:gd name="T62" fmla="*/ 285 w 651"/>
                <a:gd name="T63" fmla="*/ 167 h 649"/>
                <a:gd name="T64" fmla="*/ 87 w 651"/>
                <a:gd name="T65" fmla="*/ 176 h 649"/>
                <a:gd name="T66" fmla="*/ 246 w 651"/>
                <a:gd name="T67" fmla="*/ 146 h 649"/>
                <a:gd name="T68" fmla="*/ 266 w 651"/>
                <a:gd name="T69" fmla="*/ 144 h 649"/>
                <a:gd name="T70" fmla="*/ 283 w 651"/>
                <a:gd name="T71" fmla="*/ 124 h 649"/>
                <a:gd name="T72" fmla="*/ 544 w 651"/>
                <a:gd name="T73" fmla="*/ 124 h 649"/>
                <a:gd name="T74" fmla="*/ 483 w 651"/>
                <a:gd name="T75" fmla="*/ 183 h 649"/>
                <a:gd name="T76" fmla="*/ 385 w 651"/>
                <a:gd name="T77" fmla="*/ 178 h 649"/>
                <a:gd name="T78" fmla="*/ 240 w 651"/>
                <a:gd name="T79" fmla="*/ 135 h 649"/>
                <a:gd name="T80" fmla="*/ 273 w 651"/>
                <a:gd name="T81" fmla="*/ 339 h 649"/>
                <a:gd name="T82" fmla="*/ 88 w 651"/>
                <a:gd name="T83" fmla="*/ 297 h 649"/>
                <a:gd name="T84" fmla="*/ 474 w 651"/>
                <a:gd name="T85" fmla="*/ 140 h 649"/>
                <a:gd name="T86" fmla="*/ 511 w 651"/>
                <a:gd name="T87" fmla="*/ 473 h 649"/>
                <a:gd name="T88" fmla="*/ 432 w 651"/>
                <a:gd name="T89" fmla="*/ 410 h 649"/>
                <a:gd name="T90" fmla="*/ 486 w 651"/>
                <a:gd name="T91" fmla="*/ 240 h 649"/>
                <a:gd name="T92" fmla="*/ 438 w 651"/>
                <a:gd name="T93" fmla="*/ 271 h 649"/>
                <a:gd name="T94" fmla="*/ 376 w 651"/>
                <a:gd name="T95" fmla="*/ 285 h 649"/>
                <a:gd name="T96" fmla="*/ 286 w 651"/>
                <a:gd name="T97" fmla="*/ 219 h 649"/>
                <a:gd name="T98" fmla="*/ 327 w 651"/>
                <a:gd name="T99" fmla="*/ 221 h 649"/>
                <a:gd name="T100" fmla="*/ 406 w 651"/>
                <a:gd name="T101" fmla="*/ 201 h 649"/>
                <a:gd name="T102" fmla="*/ 501 w 651"/>
                <a:gd name="T103" fmla="*/ 86 h 649"/>
                <a:gd name="T104" fmla="*/ 178 w 651"/>
                <a:gd name="T105" fmla="*/ 110 h 649"/>
                <a:gd name="T106" fmla="*/ 195 w 651"/>
                <a:gd name="T107" fmla="*/ 99 h 649"/>
                <a:gd name="T108" fmla="*/ 248 w 651"/>
                <a:gd name="T109" fmla="*/ 53 h 649"/>
                <a:gd name="T110" fmla="*/ 416 w 651"/>
                <a:gd name="T111" fmla="*/ 69 h 649"/>
                <a:gd name="T112" fmla="*/ 281 w 651"/>
                <a:gd name="T113" fmla="*/ 36 h 649"/>
                <a:gd name="T114" fmla="*/ 627 w 651"/>
                <a:gd name="T115" fmla="*/ 207 h 649"/>
                <a:gd name="T116" fmla="*/ 517 w 651"/>
                <a:gd name="T117" fmla="*/ 585 h 649"/>
                <a:gd name="T118" fmla="*/ 147 w 651"/>
                <a:gd name="T119" fmla="*/ 594 h 649"/>
                <a:gd name="T120" fmla="*/ 79 w 651"/>
                <a:gd name="T121" fmla="*/ 533 h 649"/>
                <a:gd name="T122" fmla="*/ 230 w 651"/>
                <a:gd name="T123" fmla="*/ 15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1" h="649">
                  <a:moveTo>
                    <a:pt x="300" y="606"/>
                  </a:moveTo>
                  <a:cubicBezTo>
                    <a:pt x="298" y="609"/>
                    <a:pt x="292" y="606"/>
                    <a:pt x="290" y="607"/>
                  </a:cubicBezTo>
                  <a:cubicBezTo>
                    <a:pt x="291" y="608"/>
                    <a:pt x="292" y="608"/>
                    <a:pt x="292" y="609"/>
                  </a:cubicBezTo>
                  <a:cubicBezTo>
                    <a:pt x="293" y="610"/>
                    <a:pt x="294" y="611"/>
                    <a:pt x="294" y="612"/>
                  </a:cubicBezTo>
                  <a:cubicBezTo>
                    <a:pt x="293" y="614"/>
                    <a:pt x="290" y="617"/>
                    <a:pt x="287" y="616"/>
                  </a:cubicBezTo>
                  <a:cubicBezTo>
                    <a:pt x="286" y="617"/>
                    <a:pt x="286" y="619"/>
                    <a:pt x="285" y="619"/>
                  </a:cubicBezTo>
                  <a:cubicBezTo>
                    <a:pt x="284" y="616"/>
                    <a:pt x="282" y="614"/>
                    <a:pt x="283" y="610"/>
                  </a:cubicBezTo>
                  <a:cubicBezTo>
                    <a:pt x="281" y="608"/>
                    <a:pt x="280" y="606"/>
                    <a:pt x="277" y="606"/>
                  </a:cubicBezTo>
                  <a:cubicBezTo>
                    <a:pt x="278" y="609"/>
                    <a:pt x="280" y="610"/>
                    <a:pt x="281" y="612"/>
                  </a:cubicBezTo>
                  <a:cubicBezTo>
                    <a:pt x="282" y="614"/>
                    <a:pt x="283" y="617"/>
                    <a:pt x="283" y="620"/>
                  </a:cubicBezTo>
                  <a:cubicBezTo>
                    <a:pt x="284" y="621"/>
                    <a:pt x="285" y="621"/>
                    <a:pt x="285" y="622"/>
                  </a:cubicBezTo>
                  <a:cubicBezTo>
                    <a:pt x="286" y="623"/>
                    <a:pt x="286" y="624"/>
                    <a:pt x="286" y="625"/>
                  </a:cubicBezTo>
                  <a:cubicBezTo>
                    <a:pt x="287" y="625"/>
                    <a:pt x="287" y="625"/>
                    <a:pt x="287" y="626"/>
                  </a:cubicBezTo>
                  <a:cubicBezTo>
                    <a:pt x="290" y="624"/>
                    <a:pt x="293" y="626"/>
                    <a:pt x="295" y="625"/>
                  </a:cubicBezTo>
                  <a:cubicBezTo>
                    <a:pt x="296" y="625"/>
                    <a:pt x="296" y="624"/>
                    <a:pt x="296" y="622"/>
                  </a:cubicBezTo>
                  <a:cubicBezTo>
                    <a:pt x="298" y="618"/>
                    <a:pt x="302" y="617"/>
                    <a:pt x="307" y="616"/>
                  </a:cubicBezTo>
                  <a:cubicBezTo>
                    <a:pt x="308" y="610"/>
                    <a:pt x="303" y="608"/>
                    <a:pt x="300" y="606"/>
                  </a:cubicBezTo>
                  <a:close/>
                  <a:moveTo>
                    <a:pt x="339" y="608"/>
                  </a:moveTo>
                  <a:cubicBezTo>
                    <a:pt x="340" y="612"/>
                    <a:pt x="340" y="617"/>
                    <a:pt x="341" y="621"/>
                  </a:cubicBezTo>
                  <a:cubicBezTo>
                    <a:pt x="343" y="624"/>
                    <a:pt x="344" y="628"/>
                    <a:pt x="348" y="629"/>
                  </a:cubicBezTo>
                  <a:cubicBezTo>
                    <a:pt x="349" y="628"/>
                    <a:pt x="349" y="626"/>
                    <a:pt x="349" y="625"/>
                  </a:cubicBezTo>
                  <a:cubicBezTo>
                    <a:pt x="348" y="623"/>
                    <a:pt x="346" y="621"/>
                    <a:pt x="347" y="619"/>
                  </a:cubicBezTo>
                  <a:cubicBezTo>
                    <a:pt x="346" y="618"/>
                    <a:pt x="345" y="619"/>
                    <a:pt x="345" y="618"/>
                  </a:cubicBezTo>
                  <a:cubicBezTo>
                    <a:pt x="346" y="617"/>
                    <a:pt x="345" y="617"/>
                    <a:pt x="345" y="615"/>
                  </a:cubicBezTo>
                  <a:cubicBezTo>
                    <a:pt x="343" y="613"/>
                    <a:pt x="341" y="610"/>
                    <a:pt x="340" y="606"/>
                  </a:cubicBezTo>
                  <a:cubicBezTo>
                    <a:pt x="341" y="606"/>
                    <a:pt x="341" y="604"/>
                    <a:pt x="340" y="604"/>
                  </a:cubicBezTo>
                  <a:cubicBezTo>
                    <a:pt x="340" y="605"/>
                    <a:pt x="340" y="606"/>
                    <a:pt x="339" y="608"/>
                  </a:cubicBezTo>
                  <a:close/>
                  <a:moveTo>
                    <a:pt x="452" y="591"/>
                  </a:moveTo>
                  <a:cubicBezTo>
                    <a:pt x="451" y="591"/>
                    <a:pt x="449" y="590"/>
                    <a:pt x="447" y="590"/>
                  </a:cubicBezTo>
                  <a:cubicBezTo>
                    <a:pt x="446" y="590"/>
                    <a:pt x="445" y="590"/>
                    <a:pt x="444" y="590"/>
                  </a:cubicBezTo>
                  <a:cubicBezTo>
                    <a:pt x="444" y="593"/>
                    <a:pt x="446" y="595"/>
                    <a:pt x="446" y="598"/>
                  </a:cubicBezTo>
                  <a:cubicBezTo>
                    <a:pt x="447" y="599"/>
                    <a:pt x="450" y="600"/>
                    <a:pt x="452" y="600"/>
                  </a:cubicBezTo>
                  <a:cubicBezTo>
                    <a:pt x="453" y="600"/>
                    <a:pt x="455" y="599"/>
                    <a:pt x="456" y="598"/>
                  </a:cubicBezTo>
                  <a:cubicBezTo>
                    <a:pt x="456" y="597"/>
                    <a:pt x="457" y="595"/>
                    <a:pt x="457" y="593"/>
                  </a:cubicBezTo>
                  <a:cubicBezTo>
                    <a:pt x="455" y="592"/>
                    <a:pt x="454" y="592"/>
                    <a:pt x="452" y="591"/>
                  </a:cubicBezTo>
                  <a:close/>
                  <a:moveTo>
                    <a:pt x="343" y="596"/>
                  </a:moveTo>
                  <a:cubicBezTo>
                    <a:pt x="345" y="595"/>
                    <a:pt x="346" y="597"/>
                    <a:pt x="348" y="596"/>
                  </a:cubicBezTo>
                  <a:cubicBezTo>
                    <a:pt x="349" y="593"/>
                    <a:pt x="346" y="590"/>
                    <a:pt x="345" y="587"/>
                  </a:cubicBezTo>
                  <a:cubicBezTo>
                    <a:pt x="344" y="587"/>
                    <a:pt x="344" y="587"/>
                    <a:pt x="344" y="587"/>
                  </a:cubicBezTo>
                  <a:cubicBezTo>
                    <a:pt x="344" y="589"/>
                    <a:pt x="344" y="593"/>
                    <a:pt x="343" y="596"/>
                  </a:cubicBezTo>
                  <a:close/>
                  <a:moveTo>
                    <a:pt x="220" y="585"/>
                  </a:moveTo>
                  <a:cubicBezTo>
                    <a:pt x="220" y="585"/>
                    <a:pt x="219" y="585"/>
                    <a:pt x="219" y="585"/>
                  </a:cubicBezTo>
                  <a:cubicBezTo>
                    <a:pt x="219" y="585"/>
                    <a:pt x="220" y="585"/>
                    <a:pt x="220" y="585"/>
                  </a:cubicBezTo>
                  <a:close/>
                  <a:moveTo>
                    <a:pt x="195" y="584"/>
                  </a:moveTo>
                  <a:cubicBezTo>
                    <a:pt x="195" y="583"/>
                    <a:pt x="194" y="584"/>
                    <a:pt x="195" y="584"/>
                  </a:cubicBezTo>
                  <a:cubicBezTo>
                    <a:pt x="195" y="584"/>
                    <a:pt x="195" y="584"/>
                    <a:pt x="195" y="584"/>
                  </a:cubicBezTo>
                  <a:close/>
                  <a:moveTo>
                    <a:pt x="225" y="582"/>
                  </a:moveTo>
                  <a:cubicBezTo>
                    <a:pt x="225" y="582"/>
                    <a:pt x="224" y="581"/>
                    <a:pt x="224" y="582"/>
                  </a:cubicBezTo>
                  <a:cubicBezTo>
                    <a:pt x="224" y="582"/>
                    <a:pt x="225" y="583"/>
                    <a:pt x="225" y="582"/>
                  </a:cubicBezTo>
                  <a:close/>
                  <a:moveTo>
                    <a:pt x="224" y="580"/>
                  </a:moveTo>
                  <a:cubicBezTo>
                    <a:pt x="224" y="580"/>
                    <a:pt x="224" y="580"/>
                    <a:pt x="224" y="580"/>
                  </a:cubicBezTo>
                  <a:cubicBezTo>
                    <a:pt x="224" y="580"/>
                    <a:pt x="224" y="581"/>
                    <a:pt x="224" y="580"/>
                  </a:cubicBezTo>
                  <a:close/>
                  <a:moveTo>
                    <a:pt x="495" y="579"/>
                  </a:moveTo>
                  <a:cubicBezTo>
                    <a:pt x="495" y="579"/>
                    <a:pt x="495" y="579"/>
                    <a:pt x="495" y="579"/>
                  </a:cubicBezTo>
                  <a:cubicBezTo>
                    <a:pt x="495" y="579"/>
                    <a:pt x="496" y="579"/>
                    <a:pt x="495" y="579"/>
                  </a:cubicBezTo>
                  <a:close/>
                  <a:moveTo>
                    <a:pt x="367" y="592"/>
                  </a:moveTo>
                  <a:cubicBezTo>
                    <a:pt x="366" y="587"/>
                    <a:pt x="365" y="582"/>
                    <a:pt x="365" y="577"/>
                  </a:cubicBezTo>
                  <a:cubicBezTo>
                    <a:pt x="365" y="578"/>
                    <a:pt x="367" y="578"/>
                    <a:pt x="368" y="578"/>
                  </a:cubicBezTo>
                  <a:cubicBezTo>
                    <a:pt x="371" y="581"/>
                    <a:pt x="371" y="587"/>
                    <a:pt x="372" y="592"/>
                  </a:cubicBezTo>
                  <a:cubicBezTo>
                    <a:pt x="376" y="593"/>
                    <a:pt x="382" y="592"/>
                    <a:pt x="386" y="593"/>
                  </a:cubicBezTo>
                  <a:cubicBezTo>
                    <a:pt x="388" y="595"/>
                    <a:pt x="390" y="596"/>
                    <a:pt x="390" y="598"/>
                  </a:cubicBezTo>
                  <a:cubicBezTo>
                    <a:pt x="390" y="600"/>
                    <a:pt x="388" y="602"/>
                    <a:pt x="386" y="603"/>
                  </a:cubicBezTo>
                  <a:cubicBezTo>
                    <a:pt x="386" y="608"/>
                    <a:pt x="383" y="609"/>
                    <a:pt x="381" y="612"/>
                  </a:cubicBezTo>
                  <a:cubicBezTo>
                    <a:pt x="382" y="615"/>
                    <a:pt x="384" y="616"/>
                    <a:pt x="384" y="619"/>
                  </a:cubicBezTo>
                  <a:cubicBezTo>
                    <a:pt x="381" y="620"/>
                    <a:pt x="378" y="622"/>
                    <a:pt x="373" y="621"/>
                  </a:cubicBezTo>
                  <a:cubicBezTo>
                    <a:pt x="372" y="621"/>
                    <a:pt x="371" y="622"/>
                    <a:pt x="371" y="623"/>
                  </a:cubicBezTo>
                  <a:cubicBezTo>
                    <a:pt x="369" y="623"/>
                    <a:pt x="368" y="624"/>
                    <a:pt x="366" y="623"/>
                  </a:cubicBezTo>
                  <a:cubicBezTo>
                    <a:pt x="365" y="622"/>
                    <a:pt x="363" y="621"/>
                    <a:pt x="362" y="620"/>
                  </a:cubicBezTo>
                  <a:cubicBezTo>
                    <a:pt x="359" y="619"/>
                    <a:pt x="357" y="618"/>
                    <a:pt x="356" y="617"/>
                  </a:cubicBezTo>
                  <a:cubicBezTo>
                    <a:pt x="355" y="615"/>
                    <a:pt x="353" y="614"/>
                    <a:pt x="352" y="612"/>
                  </a:cubicBezTo>
                  <a:cubicBezTo>
                    <a:pt x="352" y="611"/>
                    <a:pt x="349" y="611"/>
                    <a:pt x="350" y="609"/>
                  </a:cubicBezTo>
                  <a:cubicBezTo>
                    <a:pt x="349" y="607"/>
                    <a:pt x="351" y="606"/>
                    <a:pt x="352" y="604"/>
                  </a:cubicBezTo>
                  <a:cubicBezTo>
                    <a:pt x="353" y="603"/>
                    <a:pt x="354" y="602"/>
                    <a:pt x="356" y="601"/>
                  </a:cubicBezTo>
                  <a:cubicBezTo>
                    <a:pt x="358" y="599"/>
                    <a:pt x="361" y="597"/>
                    <a:pt x="362" y="595"/>
                  </a:cubicBezTo>
                  <a:cubicBezTo>
                    <a:pt x="364" y="594"/>
                    <a:pt x="366" y="593"/>
                    <a:pt x="367" y="592"/>
                  </a:cubicBezTo>
                  <a:close/>
                  <a:moveTo>
                    <a:pt x="292" y="584"/>
                  </a:moveTo>
                  <a:cubicBezTo>
                    <a:pt x="290" y="582"/>
                    <a:pt x="287" y="581"/>
                    <a:pt x="286" y="577"/>
                  </a:cubicBezTo>
                  <a:cubicBezTo>
                    <a:pt x="288" y="578"/>
                    <a:pt x="290" y="580"/>
                    <a:pt x="292" y="580"/>
                  </a:cubicBezTo>
                  <a:cubicBezTo>
                    <a:pt x="296" y="580"/>
                    <a:pt x="299" y="578"/>
                    <a:pt x="302" y="577"/>
                  </a:cubicBezTo>
                  <a:cubicBezTo>
                    <a:pt x="304" y="579"/>
                    <a:pt x="306" y="582"/>
                    <a:pt x="305" y="585"/>
                  </a:cubicBezTo>
                  <a:cubicBezTo>
                    <a:pt x="302" y="585"/>
                    <a:pt x="301" y="586"/>
                    <a:pt x="299" y="585"/>
                  </a:cubicBezTo>
                  <a:cubicBezTo>
                    <a:pt x="295" y="589"/>
                    <a:pt x="291" y="592"/>
                    <a:pt x="286" y="595"/>
                  </a:cubicBezTo>
                  <a:cubicBezTo>
                    <a:pt x="286" y="595"/>
                    <a:pt x="285" y="595"/>
                    <a:pt x="284" y="596"/>
                  </a:cubicBezTo>
                  <a:cubicBezTo>
                    <a:pt x="283" y="597"/>
                    <a:pt x="281" y="598"/>
                    <a:pt x="279" y="600"/>
                  </a:cubicBezTo>
                  <a:cubicBezTo>
                    <a:pt x="279" y="600"/>
                    <a:pt x="279" y="600"/>
                    <a:pt x="279" y="600"/>
                  </a:cubicBezTo>
                  <a:cubicBezTo>
                    <a:pt x="277" y="601"/>
                    <a:pt x="275" y="603"/>
                    <a:pt x="273" y="604"/>
                  </a:cubicBezTo>
                  <a:cubicBezTo>
                    <a:pt x="272" y="606"/>
                    <a:pt x="271" y="606"/>
                    <a:pt x="269" y="607"/>
                  </a:cubicBezTo>
                  <a:cubicBezTo>
                    <a:pt x="269" y="608"/>
                    <a:pt x="269" y="608"/>
                    <a:pt x="269" y="608"/>
                  </a:cubicBezTo>
                  <a:cubicBezTo>
                    <a:pt x="267" y="609"/>
                    <a:pt x="265" y="611"/>
                    <a:pt x="263" y="612"/>
                  </a:cubicBezTo>
                  <a:cubicBezTo>
                    <a:pt x="261" y="613"/>
                    <a:pt x="259" y="613"/>
                    <a:pt x="257" y="615"/>
                  </a:cubicBezTo>
                  <a:cubicBezTo>
                    <a:pt x="254" y="615"/>
                    <a:pt x="253" y="614"/>
                    <a:pt x="251" y="613"/>
                  </a:cubicBezTo>
                  <a:cubicBezTo>
                    <a:pt x="251" y="612"/>
                    <a:pt x="253" y="612"/>
                    <a:pt x="254" y="612"/>
                  </a:cubicBezTo>
                  <a:cubicBezTo>
                    <a:pt x="255" y="610"/>
                    <a:pt x="258" y="610"/>
                    <a:pt x="259" y="609"/>
                  </a:cubicBezTo>
                  <a:cubicBezTo>
                    <a:pt x="264" y="606"/>
                    <a:pt x="270" y="603"/>
                    <a:pt x="274" y="599"/>
                  </a:cubicBezTo>
                  <a:cubicBezTo>
                    <a:pt x="276" y="598"/>
                    <a:pt x="277" y="597"/>
                    <a:pt x="279" y="595"/>
                  </a:cubicBezTo>
                  <a:cubicBezTo>
                    <a:pt x="283" y="592"/>
                    <a:pt x="288" y="588"/>
                    <a:pt x="292" y="584"/>
                  </a:cubicBezTo>
                  <a:close/>
                  <a:moveTo>
                    <a:pt x="417" y="564"/>
                  </a:moveTo>
                  <a:cubicBezTo>
                    <a:pt x="417" y="564"/>
                    <a:pt x="418" y="566"/>
                    <a:pt x="418" y="567"/>
                  </a:cubicBezTo>
                  <a:cubicBezTo>
                    <a:pt x="418" y="568"/>
                    <a:pt x="419" y="569"/>
                    <a:pt x="419" y="570"/>
                  </a:cubicBezTo>
                  <a:cubicBezTo>
                    <a:pt x="421" y="570"/>
                    <a:pt x="421" y="571"/>
                    <a:pt x="422" y="572"/>
                  </a:cubicBezTo>
                  <a:cubicBezTo>
                    <a:pt x="422" y="573"/>
                    <a:pt x="421" y="573"/>
                    <a:pt x="421" y="574"/>
                  </a:cubicBezTo>
                  <a:cubicBezTo>
                    <a:pt x="422" y="575"/>
                    <a:pt x="422" y="579"/>
                    <a:pt x="424" y="582"/>
                  </a:cubicBezTo>
                  <a:cubicBezTo>
                    <a:pt x="424" y="588"/>
                    <a:pt x="421" y="591"/>
                    <a:pt x="416" y="592"/>
                  </a:cubicBezTo>
                  <a:cubicBezTo>
                    <a:pt x="417" y="594"/>
                    <a:pt x="420" y="594"/>
                    <a:pt x="422" y="593"/>
                  </a:cubicBezTo>
                  <a:cubicBezTo>
                    <a:pt x="423" y="594"/>
                    <a:pt x="423" y="594"/>
                    <a:pt x="424" y="594"/>
                  </a:cubicBezTo>
                  <a:cubicBezTo>
                    <a:pt x="424" y="596"/>
                    <a:pt x="425" y="596"/>
                    <a:pt x="426" y="598"/>
                  </a:cubicBezTo>
                  <a:cubicBezTo>
                    <a:pt x="425" y="599"/>
                    <a:pt x="425" y="600"/>
                    <a:pt x="425" y="601"/>
                  </a:cubicBezTo>
                  <a:cubicBezTo>
                    <a:pt x="424" y="601"/>
                    <a:pt x="423" y="601"/>
                    <a:pt x="423" y="602"/>
                  </a:cubicBezTo>
                  <a:cubicBezTo>
                    <a:pt x="423" y="613"/>
                    <a:pt x="423" y="613"/>
                    <a:pt x="423" y="613"/>
                  </a:cubicBezTo>
                  <a:cubicBezTo>
                    <a:pt x="425" y="613"/>
                    <a:pt x="425" y="611"/>
                    <a:pt x="426" y="610"/>
                  </a:cubicBezTo>
                  <a:cubicBezTo>
                    <a:pt x="427" y="609"/>
                    <a:pt x="428" y="608"/>
                    <a:pt x="428" y="607"/>
                  </a:cubicBezTo>
                  <a:cubicBezTo>
                    <a:pt x="430" y="607"/>
                    <a:pt x="431" y="606"/>
                    <a:pt x="432" y="605"/>
                  </a:cubicBezTo>
                  <a:cubicBezTo>
                    <a:pt x="432" y="603"/>
                    <a:pt x="432" y="601"/>
                    <a:pt x="433" y="600"/>
                  </a:cubicBezTo>
                  <a:cubicBezTo>
                    <a:pt x="433" y="598"/>
                    <a:pt x="435" y="598"/>
                    <a:pt x="435" y="596"/>
                  </a:cubicBezTo>
                  <a:cubicBezTo>
                    <a:pt x="434" y="594"/>
                    <a:pt x="433" y="593"/>
                    <a:pt x="433" y="590"/>
                  </a:cubicBezTo>
                  <a:cubicBezTo>
                    <a:pt x="433" y="588"/>
                    <a:pt x="435" y="586"/>
                    <a:pt x="435" y="584"/>
                  </a:cubicBezTo>
                  <a:cubicBezTo>
                    <a:pt x="435" y="583"/>
                    <a:pt x="435" y="582"/>
                    <a:pt x="435" y="580"/>
                  </a:cubicBezTo>
                  <a:cubicBezTo>
                    <a:pt x="436" y="580"/>
                    <a:pt x="436" y="579"/>
                    <a:pt x="436" y="579"/>
                  </a:cubicBezTo>
                  <a:cubicBezTo>
                    <a:pt x="436" y="578"/>
                    <a:pt x="437" y="578"/>
                    <a:pt x="437" y="576"/>
                  </a:cubicBezTo>
                  <a:cubicBezTo>
                    <a:pt x="437" y="576"/>
                    <a:pt x="438" y="575"/>
                    <a:pt x="438" y="575"/>
                  </a:cubicBezTo>
                  <a:cubicBezTo>
                    <a:pt x="438" y="574"/>
                    <a:pt x="437" y="573"/>
                    <a:pt x="437" y="572"/>
                  </a:cubicBezTo>
                  <a:cubicBezTo>
                    <a:pt x="437" y="571"/>
                    <a:pt x="437" y="571"/>
                    <a:pt x="435" y="571"/>
                  </a:cubicBezTo>
                  <a:cubicBezTo>
                    <a:pt x="436" y="569"/>
                    <a:pt x="434" y="569"/>
                    <a:pt x="434" y="569"/>
                  </a:cubicBezTo>
                  <a:cubicBezTo>
                    <a:pt x="432" y="569"/>
                    <a:pt x="430" y="568"/>
                    <a:pt x="428" y="568"/>
                  </a:cubicBezTo>
                  <a:cubicBezTo>
                    <a:pt x="428" y="566"/>
                    <a:pt x="427" y="564"/>
                    <a:pt x="426" y="563"/>
                  </a:cubicBezTo>
                  <a:cubicBezTo>
                    <a:pt x="422" y="563"/>
                    <a:pt x="419" y="563"/>
                    <a:pt x="416" y="563"/>
                  </a:cubicBezTo>
                  <a:cubicBezTo>
                    <a:pt x="416" y="564"/>
                    <a:pt x="417" y="564"/>
                    <a:pt x="417" y="564"/>
                  </a:cubicBezTo>
                  <a:close/>
                  <a:moveTo>
                    <a:pt x="225" y="563"/>
                  </a:moveTo>
                  <a:cubicBezTo>
                    <a:pt x="226" y="565"/>
                    <a:pt x="226" y="568"/>
                    <a:pt x="228" y="570"/>
                  </a:cubicBezTo>
                  <a:cubicBezTo>
                    <a:pt x="229" y="570"/>
                    <a:pt x="229" y="570"/>
                    <a:pt x="231" y="570"/>
                  </a:cubicBezTo>
                  <a:cubicBezTo>
                    <a:pt x="233" y="567"/>
                    <a:pt x="230" y="562"/>
                    <a:pt x="226" y="561"/>
                  </a:cubicBezTo>
                  <a:cubicBezTo>
                    <a:pt x="226" y="562"/>
                    <a:pt x="225" y="562"/>
                    <a:pt x="225" y="563"/>
                  </a:cubicBezTo>
                  <a:close/>
                  <a:moveTo>
                    <a:pt x="195" y="585"/>
                  </a:moveTo>
                  <a:cubicBezTo>
                    <a:pt x="197" y="585"/>
                    <a:pt x="197" y="586"/>
                    <a:pt x="198" y="586"/>
                  </a:cubicBezTo>
                  <a:cubicBezTo>
                    <a:pt x="206" y="586"/>
                    <a:pt x="212" y="584"/>
                    <a:pt x="217" y="581"/>
                  </a:cubicBezTo>
                  <a:cubicBezTo>
                    <a:pt x="217" y="580"/>
                    <a:pt x="216" y="579"/>
                    <a:pt x="216" y="578"/>
                  </a:cubicBezTo>
                  <a:cubicBezTo>
                    <a:pt x="212" y="580"/>
                    <a:pt x="205" y="582"/>
                    <a:pt x="199" y="582"/>
                  </a:cubicBezTo>
                  <a:cubicBezTo>
                    <a:pt x="197" y="582"/>
                    <a:pt x="194" y="582"/>
                    <a:pt x="191" y="581"/>
                  </a:cubicBezTo>
                  <a:cubicBezTo>
                    <a:pt x="191" y="580"/>
                    <a:pt x="192" y="580"/>
                    <a:pt x="192" y="578"/>
                  </a:cubicBezTo>
                  <a:cubicBezTo>
                    <a:pt x="197" y="577"/>
                    <a:pt x="204" y="576"/>
                    <a:pt x="208" y="574"/>
                  </a:cubicBezTo>
                  <a:cubicBezTo>
                    <a:pt x="210" y="573"/>
                    <a:pt x="212" y="573"/>
                    <a:pt x="211" y="571"/>
                  </a:cubicBezTo>
                  <a:cubicBezTo>
                    <a:pt x="211" y="570"/>
                    <a:pt x="209" y="571"/>
                    <a:pt x="208" y="571"/>
                  </a:cubicBezTo>
                  <a:cubicBezTo>
                    <a:pt x="205" y="571"/>
                    <a:pt x="203" y="572"/>
                    <a:pt x="200" y="572"/>
                  </a:cubicBezTo>
                  <a:cubicBezTo>
                    <a:pt x="199" y="570"/>
                    <a:pt x="200" y="567"/>
                    <a:pt x="201" y="566"/>
                  </a:cubicBezTo>
                  <a:cubicBezTo>
                    <a:pt x="204" y="567"/>
                    <a:pt x="208" y="566"/>
                    <a:pt x="209" y="565"/>
                  </a:cubicBezTo>
                  <a:cubicBezTo>
                    <a:pt x="209" y="563"/>
                    <a:pt x="208" y="562"/>
                    <a:pt x="208" y="561"/>
                  </a:cubicBezTo>
                  <a:cubicBezTo>
                    <a:pt x="209" y="561"/>
                    <a:pt x="210" y="562"/>
                    <a:pt x="212" y="563"/>
                  </a:cubicBezTo>
                  <a:cubicBezTo>
                    <a:pt x="213" y="561"/>
                    <a:pt x="209" y="561"/>
                    <a:pt x="209" y="560"/>
                  </a:cubicBezTo>
                  <a:cubicBezTo>
                    <a:pt x="211" y="558"/>
                    <a:pt x="213" y="559"/>
                    <a:pt x="214" y="560"/>
                  </a:cubicBezTo>
                  <a:cubicBezTo>
                    <a:pt x="216" y="562"/>
                    <a:pt x="220" y="564"/>
                    <a:pt x="220" y="566"/>
                  </a:cubicBezTo>
                  <a:cubicBezTo>
                    <a:pt x="220" y="567"/>
                    <a:pt x="219" y="570"/>
                    <a:pt x="217" y="569"/>
                  </a:cubicBezTo>
                  <a:cubicBezTo>
                    <a:pt x="216" y="572"/>
                    <a:pt x="217" y="577"/>
                    <a:pt x="219" y="580"/>
                  </a:cubicBezTo>
                  <a:cubicBezTo>
                    <a:pt x="220" y="580"/>
                    <a:pt x="221" y="579"/>
                    <a:pt x="222" y="579"/>
                  </a:cubicBezTo>
                  <a:cubicBezTo>
                    <a:pt x="222" y="581"/>
                    <a:pt x="223" y="582"/>
                    <a:pt x="223" y="584"/>
                  </a:cubicBezTo>
                  <a:cubicBezTo>
                    <a:pt x="222" y="584"/>
                    <a:pt x="221" y="585"/>
                    <a:pt x="220" y="585"/>
                  </a:cubicBezTo>
                  <a:cubicBezTo>
                    <a:pt x="221" y="584"/>
                    <a:pt x="222" y="583"/>
                    <a:pt x="221" y="582"/>
                  </a:cubicBezTo>
                  <a:cubicBezTo>
                    <a:pt x="217" y="584"/>
                    <a:pt x="212" y="584"/>
                    <a:pt x="209" y="586"/>
                  </a:cubicBezTo>
                  <a:cubicBezTo>
                    <a:pt x="211" y="586"/>
                    <a:pt x="216" y="585"/>
                    <a:pt x="219" y="585"/>
                  </a:cubicBezTo>
                  <a:cubicBezTo>
                    <a:pt x="219" y="586"/>
                    <a:pt x="219" y="588"/>
                    <a:pt x="218" y="589"/>
                  </a:cubicBezTo>
                  <a:cubicBezTo>
                    <a:pt x="218" y="592"/>
                    <a:pt x="219" y="597"/>
                    <a:pt x="216" y="597"/>
                  </a:cubicBezTo>
                  <a:cubicBezTo>
                    <a:pt x="215" y="594"/>
                    <a:pt x="216" y="590"/>
                    <a:pt x="216" y="587"/>
                  </a:cubicBezTo>
                  <a:cubicBezTo>
                    <a:pt x="214" y="587"/>
                    <a:pt x="211" y="589"/>
                    <a:pt x="208" y="588"/>
                  </a:cubicBezTo>
                  <a:cubicBezTo>
                    <a:pt x="208" y="591"/>
                    <a:pt x="210" y="590"/>
                    <a:pt x="210" y="593"/>
                  </a:cubicBezTo>
                  <a:cubicBezTo>
                    <a:pt x="210" y="593"/>
                    <a:pt x="210" y="593"/>
                    <a:pt x="210" y="593"/>
                  </a:cubicBezTo>
                  <a:cubicBezTo>
                    <a:pt x="208" y="595"/>
                    <a:pt x="207" y="593"/>
                    <a:pt x="205" y="593"/>
                  </a:cubicBezTo>
                  <a:cubicBezTo>
                    <a:pt x="204" y="593"/>
                    <a:pt x="203" y="593"/>
                    <a:pt x="201" y="593"/>
                  </a:cubicBezTo>
                  <a:cubicBezTo>
                    <a:pt x="198" y="591"/>
                    <a:pt x="196" y="589"/>
                    <a:pt x="195" y="585"/>
                  </a:cubicBezTo>
                  <a:cubicBezTo>
                    <a:pt x="194" y="585"/>
                    <a:pt x="196" y="583"/>
                    <a:pt x="195" y="585"/>
                  </a:cubicBezTo>
                  <a:close/>
                  <a:moveTo>
                    <a:pt x="211" y="556"/>
                  </a:moveTo>
                  <a:cubicBezTo>
                    <a:pt x="211" y="556"/>
                    <a:pt x="211" y="556"/>
                    <a:pt x="210" y="556"/>
                  </a:cubicBezTo>
                  <a:cubicBezTo>
                    <a:pt x="210" y="555"/>
                    <a:pt x="210" y="555"/>
                    <a:pt x="211" y="555"/>
                  </a:cubicBezTo>
                  <a:cubicBezTo>
                    <a:pt x="217" y="555"/>
                    <a:pt x="223" y="556"/>
                    <a:pt x="230" y="558"/>
                  </a:cubicBezTo>
                  <a:cubicBezTo>
                    <a:pt x="236" y="560"/>
                    <a:pt x="241" y="562"/>
                    <a:pt x="243" y="567"/>
                  </a:cubicBezTo>
                  <a:cubicBezTo>
                    <a:pt x="244" y="568"/>
                    <a:pt x="244" y="570"/>
                    <a:pt x="243" y="572"/>
                  </a:cubicBezTo>
                  <a:cubicBezTo>
                    <a:pt x="243" y="574"/>
                    <a:pt x="241" y="574"/>
                    <a:pt x="240" y="576"/>
                  </a:cubicBezTo>
                  <a:cubicBezTo>
                    <a:pt x="239" y="578"/>
                    <a:pt x="238" y="579"/>
                    <a:pt x="237" y="580"/>
                  </a:cubicBezTo>
                  <a:cubicBezTo>
                    <a:pt x="234" y="585"/>
                    <a:pt x="232" y="590"/>
                    <a:pt x="230" y="594"/>
                  </a:cubicBezTo>
                  <a:cubicBezTo>
                    <a:pt x="229" y="596"/>
                    <a:pt x="228" y="597"/>
                    <a:pt x="227" y="599"/>
                  </a:cubicBezTo>
                  <a:cubicBezTo>
                    <a:pt x="227" y="600"/>
                    <a:pt x="226" y="602"/>
                    <a:pt x="225" y="604"/>
                  </a:cubicBezTo>
                  <a:cubicBezTo>
                    <a:pt x="225" y="605"/>
                    <a:pt x="224" y="606"/>
                    <a:pt x="223" y="608"/>
                  </a:cubicBezTo>
                  <a:cubicBezTo>
                    <a:pt x="222" y="609"/>
                    <a:pt x="222" y="611"/>
                    <a:pt x="220" y="612"/>
                  </a:cubicBezTo>
                  <a:cubicBezTo>
                    <a:pt x="219" y="613"/>
                    <a:pt x="218" y="616"/>
                    <a:pt x="216" y="615"/>
                  </a:cubicBezTo>
                  <a:cubicBezTo>
                    <a:pt x="213" y="615"/>
                    <a:pt x="211" y="610"/>
                    <a:pt x="210" y="606"/>
                  </a:cubicBezTo>
                  <a:cubicBezTo>
                    <a:pt x="210" y="604"/>
                    <a:pt x="209" y="599"/>
                    <a:pt x="209" y="596"/>
                  </a:cubicBezTo>
                  <a:cubicBezTo>
                    <a:pt x="209" y="597"/>
                    <a:pt x="209" y="598"/>
                    <a:pt x="210" y="598"/>
                  </a:cubicBezTo>
                  <a:cubicBezTo>
                    <a:pt x="210" y="600"/>
                    <a:pt x="211" y="597"/>
                    <a:pt x="211" y="599"/>
                  </a:cubicBezTo>
                  <a:cubicBezTo>
                    <a:pt x="212" y="600"/>
                    <a:pt x="212" y="602"/>
                    <a:pt x="213" y="603"/>
                  </a:cubicBezTo>
                  <a:cubicBezTo>
                    <a:pt x="214" y="605"/>
                    <a:pt x="214" y="606"/>
                    <a:pt x="216" y="607"/>
                  </a:cubicBezTo>
                  <a:cubicBezTo>
                    <a:pt x="218" y="607"/>
                    <a:pt x="218" y="604"/>
                    <a:pt x="219" y="603"/>
                  </a:cubicBezTo>
                  <a:cubicBezTo>
                    <a:pt x="222" y="598"/>
                    <a:pt x="224" y="593"/>
                    <a:pt x="227" y="588"/>
                  </a:cubicBezTo>
                  <a:cubicBezTo>
                    <a:pt x="229" y="582"/>
                    <a:pt x="232" y="576"/>
                    <a:pt x="235" y="570"/>
                  </a:cubicBezTo>
                  <a:cubicBezTo>
                    <a:pt x="236" y="568"/>
                    <a:pt x="237" y="566"/>
                    <a:pt x="237" y="564"/>
                  </a:cubicBezTo>
                  <a:cubicBezTo>
                    <a:pt x="237" y="560"/>
                    <a:pt x="231" y="559"/>
                    <a:pt x="226" y="559"/>
                  </a:cubicBezTo>
                  <a:cubicBezTo>
                    <a:pt x="220" y="558"/>
                    <a:pt x="215" y="559"/>
                    <a:pt x="211" y="556"/>
                  </a:cubicBezTo>
                  <a:close/>
                  <a:moveTo>
                    <a:pt x="199" y="556"/>
                  </a:moveTo>
                  <a:cubicBezTo>
                    <a:pt x="199" y="555"/>
                    <a:pt x="200" y="555"/>
                    <a:pt x="200" y="554"/>
                  </a:cubicBezTo>
                  <a:cubicBezTo>
                    <a:pt x="201" y="554"/>
                    <a:pt x="201" y="554"/>
                    <a:pt x="201" y="555"/>
                  </a:cubicBezTo>
                  <a:cubicBezTo>
                    <a:pt x="201" y="556"/>
                    <a:pt x="200" y="558"/>
                    <a:pt x="200" y="559"/>
                  </a:cubicBezTo>
                  <a:cubicBezTo>
                    <a:pt x="198" y="562"/>
                    <a:pt x="197" y="564"/>
                    <a:pt x="195" y="567"/>
                  </a:cubicBezTo>
                  <a:cubicBezTo>
                    <a:pt x="193" y="572"/>
                    <a:pt x="190" y="577"/>
                    <a:pt x="187" y="582"/>
                  </a:cubicBezTo>
                  <a:cubicBezTo>
                    <a:pt x="187" y="584"/>
                    <a:pt x="187" y="585"/>
                    <a:pt x="185" y="586"/>
                  </a:cubicBezTo>
                  <a:cubicBezTo>
                    <a:pt x="183" y="586"/>
                    <a:pt x="184" y="584"/>
                    <a:pt x="183" y="583"/>
                  </a:cubicBezTo>
                  <a:cubicBezTo>
                    <a:pt x="183" y="582"/>
                    <a:pt x="184" y="581"/>
                    <a:pt x="185" y="579"/>
                  </a:cubicBezTo>
                  <a:cubicBezTo>
                    <a:pt x="186" y="578"/>
                    <a:pt x="187" y="577"/>
                    <a:pt x="187" y="576"/>
                  </a:cubicBezTo>
                  <a:cubicBezTo>
                    <a:pt x="188" y="574"/>
                    <a:pt x="189" y="572"/>
                    <a:pt x="190" y="571"/>
                  </a:cubicBezTo>
                  <a:cubicBezTo>
                    <a:pt x="193" y="567"/>
                    <a:pt x="195" y="562"/>
                    <a:pt x="198" y="558"/>
                  </a:cubicBezTo>
                  <a:cubicBezTo>
                    <a:pt x="198" y="558"/>
                    <a:pt x="198" y="557"/>
                    <a:pt x="199" y="557"/>
                  </a:cubicBezTo>
                  <a:cubicBezTo>
                    <a:pt x="199" y="557"/>
                    <a:pt x="199" y="556"/>
                    <a:pt x="199" y="556"/>
                  </a:cubicBezTo>
                  <a:close/>
                  <a:moveTo>
                    <a:pt x="489" y="541"/>
                  </a:moveTo>
                  <a:cubicBezTo>
                    <a:pt x="491" y="540"/>
                    <a:pt x="495" y="537"/>
                    <a:pt x="498" y="539"/>
                  </a:cubicBezTo>
                  <a:cubicBezTo>
                    <a:pt x="497" y="542"/>
                    <a:pt x="497" y="544"/>
                    <a:pt x="498" y="546"/>
                  </a:cubicBezTo>
                  <a:cubicBezTo>
                    <a:pt x="500" y="546"/>
                    <a:pt x="500" y="547"/>
                    <a:pt x="501" y="547"/>
                  </a:cubicBezTo>
                  <a:cubicBezTo>
                    <a:pt x="503" y="547"/>
                    <a:pt x="504" y="544"/>
                    <a:pt x="506" y="544"/>
                  </a:cubicBezTo>
                  <a:cubicBezTo>
                    <a:pt x="508" y="544"/>
                    <a:pt x="508" y="545"/>
                    <a:pt x="510" y="545"/>
                  </a:cubicBezTo>
                  <a:cubicBezTo>
                    <a:pt x="510" y="548"/>
                    <a:pt x="508" y="549"/>
                    <a:pt x="507" y="551"/>
                  </a:cubicBezTo>
                  <a:cubicBezTo>
                    <a:pt x="507" y="554"/>
                    <a:pt x="511" y="556"/>
                    <a:pt x="512" y="559"/>
                  </a:cubicBezTo>
                  <a:cubicBezTo>
                    <a:pt x="512" y="559"/>
                    <a:pt x="512" y="562"/>
                    <a:pt x="512" y="563"/>
                  </a:cubicBezTo>
                  <a:cubicBezTo>
                    <a:pt x="513" y="566"/>
                    <a:pt x="511" y="568"/>
                    <a:pt x="511" y="571"/>
                  </a:cubicBezTo>
                  <a:cubicBezTo>
                    <a:pt x="509" y="573"/>
                    <a:pt x="506" y="575"/>
                    <a:pt x="504" y="577"/>
                  </a:cubicBezTo>
                  <a:cubicBezTo>
                    <a:pt x="503" y="577"/>
                    <a:pt x="502" y="577"/>
                    <a:pt x="502" y="578"/>
                  </a:cubicBezTo>
                  <a:cubicBezTo>
                    <a:pt x="500" y="577"/>
                    <a:pt x="498" y="579"/>
                    <a:pt x="496" y="579"/>
                  </a:cubicBezTo>
                  <a:cubicBezTo>
                    <a:pt x="497" y="578"/>
                    <a:pt x="498" y="578"/>
                    <a:pt x="499" y="577"/>
                  </a:cubicBezTo>
                  <a:cubicBezTo>
                    <a:pt x="499" y="576"/>
                    <a:pt x="498" y="577"/>
                    <a:pt x="498" y="576"/>
                  </a:cubicBezTo>
                  <a:cubicBezTo>
                    <a:pt x="503" y="573"/>
                    <a:pt x="512" y="561"/>
                    <a:pt x="503" y="556"/>
                  </a:cubicBezTo>
                  <a:cubicBezTo>
                    <a:pt x="498" y="557"/>
                    <a:pt x="498" y="562"/>
                    <a:pt x="495" y="564"/>
                  </a:cubicBezTo>
                  <a:cubicBezTo>
                    <a:pt x="493" y="564"/>
                    <a:pt x="492" y="564"/>
                    <a:pt x="491" y="563"/>
                  </a:cubicBezTo>
                  <a:cubicBezTo>
                    <a:pt x="489" y="563"/>
                    <a:pt x="489" y="562"/>
                    <a:pt x="488" y="562"/>
                  </a:cubicBezTo>
                  <a:cubicBezTo>
                    <a:pt x="489" y="562"/>
                    <a:pt x="490" y="561"/>
                    <a:pt x="492" y="560"/>
                  </a:cubicBezTo>
                  <a:cubicBezTo>
                    <a:pt x="493" y="556"/>
                    <a:pt x="497" y="555"/>
                    <a:pt x="498" y="552"/>
                  </a:cubicBezTo>
                  <a:cubicBezTo>
                    <a:pt x="497" y="550"/>
                    <a:pt x="496" y="552"/>
                    <a:pt x="495" y="552"/>
                  </a:cubicBezTo>
                  <a:cubicBezTo>
                    <a:pt x="492" y="551"/>
                    <a:pt x="492" y="547"/>
                    <a:pt x="491" y="545"/>
                  </a:cubicBezTo>
                  <a:cubicBezTo>
                    <a:pt x="490" y="544"/>
                    <a:pt x="490" y="546"/>
                    <a:pt x="489" y="547"/>
                  </a:cubicBezTo>
                  <a:cubicBezTo>
                    <a:pt x="489" y="547"/>
                    <a:pt x="488" y="549"/>
                    <a:pt x="487" y="549"/>
                  </a:cubicBezTo>
                  <a:cubicBezTo>
                    <a:pt x="486" y="550"/>
                    <a:pt x="485" y="550"/>
                    <a:pt x="483" y="550"/>
                  </a:cubicBezTo>
                  <a:cubicBezTo>
                    <a:pt x="486" y="548"/>
                    <a:pt x="488" y="546"/>
                    <a:pt x="489" y="541"/>
                  </a:cubicBezTo>
                  <a:close/>
                  <a:moveTo>
                    <a:pt x="138" y="533"/>
                  </a:moveTo>
                  <a:cubicBezTo>
                    <a:pt x="138" y="536"/>
                    <a:pt x="139" y="540"/>
                    <a:pt x="142" y="540"/>
                  </a:cubicBezTo>
                  <a:cubicBezTo>
                    <a:pt x="141" y="532"/>
                    <a:pt x="137" y="526"/>
                    <a:pt x="132" y="522"/>
                  </a:cubicBezTo>
                  <a:cubicBezTo>
                    <a:pt x="134" y="526"/>
                    <a:pt x="136" y="529"/>
                    <a:pt x="138" y="533"/>
                  </a:cubicBezTo>
                  <a:close/>
                  <a:moveTo>
                    <a:pt x="165" y="518"/>
                  </a:moveTo>
                  <a:cubicBezTo>
                    <a:pt x="167" y="519"/>
                    <a:pt x="168" y="519"/>
                    <a:pt x="170" y="520"/>
                  </a:cubicBezTo>
                  <a:cubicBezTo>
                    <a:pt x="171" y="523"/>
                    <a:pt x="168" y="525"/>
                    <a:pt x="167" y="526"/>
                  </a:cubicBezTo>
                  <a:cubicBezTo>
                    <a:pt x="166" y="528"/>
                    <a:pt x="165" y="529"/>
                    <a:pt x="163" y="531"/>
                  </a:cubicBezTo>
                  <a:cubicBezTo>
                    <a:pt x="165" y="533"/>
                    <a:pt x="169" y="533"/>
                    <a:pt x="171" y="535"/>
                  </a:cubicBezTo>
                  <a:cubicBezTo>
                    <a:pt x="172" y="535"/>
                    <a:pt x="173" y="535"/>
                    <a:pt x="174" y="535"/>
                  </a:cubicBezTo>
                  <a:cubicBezTo>
                    <a:pt x="176" y="537"/>
                    <a:pt x="179" y="539"/>
                    <a:pt x="179" y="545"/>
                  </a:cubicBezTo>
                  <a:cubicBezTo>
                    <a:pt x="178" y="546"/>
                    <a:pt x="175" y="547"/>
                    <a:pt x="173" y="546"/>
                  </a:cubicBezTo>
                  <a:cubicBezTo>
                    <a:pt x="173" y="545"/>
                    <a:pt x="175" y="545"/>
                    <a:pt x="176" y="545"/>
                  </a:cubicBezTo>
                  <a:cubicBezTo>
                    <a:pt x="175" y="544"/>
                    <a:pt x="173" y="544"/>
                    <a:pt x="173" y="542"/>
                  </a:cubicBezTo>
                  <a:cubicBezTo>
                    <a:pt x="171" y="543"/>
                    <a:pt x="170" y="544"/>
                    <a:pt x="169" y="545"/>
                  </a:cubicBezTo>
                  <a:cubicBezTo>
                    <a:pt x="168" y="545"/>
                    <a:pt x="164" y="545"/>
                    <a:pt x="162" y="545"/>
                  </a:cubicBezTo>
                  <a:cubicBezTo>
                    <a:pt x="162" y="547"/>
                    <a:pt x="162" y="548"/>
                    <a:pt x="161" y="549"/>
                  </a:cubicBezTo>
                  <a:cubicBezTo>
                    <a:pt x="158" y="549"/>
                    <a:pt x="155" y="547"/>
                    <a:pt x="152" y="547"/>
                  </a:cubicBezTo>
                  <a:cubicBezTo>
                    <a:pt x="150" y="547"/>
                    <a:pt x="149" y="548"/>
                    <a:pt x="149" y="549"/>
                  </a:cubicBezTo>
                  <a:cubicBezTo>
                    <a:pt x="148" y="550"/>
                    <a:pt x="148" y="550"/>
                    <a:pt x="148" y="550"/>
                  </a:cubicBezTo>
                  <a:cubicBezTo>
                    <a:pt x="147" y="552"/>
                    <a:pt x="146" y="552"/>
                    <a:pt x="145" y="553"/>
                  </a:cubicBezTo>
                  <a:cubicBezTo>
                    <a:pt x="144" y="555"/>
                    <a:pt x="143" y="556"/>
                    <a:pt x="142" y="557"/>
                  </a:cubicBezTo>
                  <a:cubicBezTo>
                    <a:pt x="141" y="558"/>
                    <a:pt x="140" y="558"/>
                    <a:pt x="140" y="559"/>
                  </a:cubicBezTo>
                  <a:cubicBezTo>
                    <a:pt x="139" y="559"/>
                    <a:pt x="139" y="560"/>
                    <a:pt x="139" y="561"/>
                  </a:cubicBezTo>
                  <a:cubicBezTo>
                    <a:pt x="137" y="563"/>
                    <a:pt x="134" y="565"/>
                    <a:pt x="132" y="567"/>
                  </a:cubicBezTo>
                  <a:cubicBezTo>
                    <a:pt x="130" y="569"/>
                    <a:pt x="128" y="572"/>
                    <a:pt x="125" y="573"/>
                  </a:cubicBezTo>
                  <a:cubicBezTo>
                    <a:pt x="132" y="564"/>
                    <a:pt x="139" y="554"/>
                    <a:pt x="146" y="545"/>
                  </a:cubicBezTo>
                  <a:cubicBezTo>
                    <a:pt x="146" y="542"/>
                    <a:pt x="146" y="542"/>
                    <a:pt x="146" y="542"/>
                  </a:cubicBezTo>
                  <a:cubicBezTo>
                    <a:pt x="147" y="540"/>
                    <a:pt x="148" y="540"/>
                    <a:pt x="149" y="540"/>
                  </a:cubicBezTo>
                  <a:cubicBezTo>
                    <a:pt x="151" y="539"/>
                    <a:pt x="151" y="537"/>
                    <a:pt x="153" y="536"/>
                  </a:cubicBezTo>
                  <a:cubicBezTo>
                    <a:pt x="153" y="534"/>
                    <a:pt x="155" y="534"/>
                    <a:pt x="155" y="532"/>
                  </a:cubicBezTo>
                  <a:cubicBezTo>
                    <a:pt x="155" y="530"/>
                    <a:pt x="153" y="530"/>
                    <a:pt x="151" y="529"/>
                  </a:cubicBezTo>
                  <a:cubicBezTo>
                    <a:pt x="151" y="529"/>
                    <a:pt x="150" y="528"/>
                    <a:pt x="150" y="527"/>
                  </a:cubicBezTo>
                  <a:cubicBezTo>
                    <a:pt x="153" y="527"/>
                    <a:pt x="155" y="528"/>
                    <a:pt x="157" y="529"/>
                  </a:cubicBezTo>
                  <a:cubicBezTo>
                    <a:pt x="161" y="527"/>
                    <a:pt x="163" y="522"/>
                    <a:pt x="165" y="518"/>
                  </a:cubicBezTo>
                  <a:close/>
                  <a:moveTo>
                    <a:pt x="498" y="529"/>
                  </a:moveTo>
                  <a:cubicBezTo>
                    <a:pt x="498" y="529"/>
                    <a:pt x="498" y="529"/>
                    <a:pt x="498" y="529"/>
                  </a:cubicBezTo>
                  <a:cubicBezTo>
                    <a:pt x="497" y="530"/>
                    <a:pt x="498" y="530"/>
                    <a:pt x="498" y="529"/>
                  </a:cubicBezTo>
                  <a:cubicBezTo>
                    <a:pt x="498" y="530"/>
                    <a:pt x="498" y="529"/>
                    <a:pt x="498" y="529"/>
                  </a:cubicBezTo>
                  <a:cubicBezTo>
                    <a:pt x="502" y="528"/>
                    <a:pt x="505" y="527"/>
                    <a:pt x="505" y="523"/>
                  </a:cubicBezTo>
                  <a:cubicBezTo>
                    <a:pt x="499" y="522"/>
                    <a:pt x="497" y="526"/>
                    <a:pt x="494" y="529"/>
                  </a:cubicBezTo>
                  <a:cubicBezTo>
                    <a:pt x="492" y="526"/>
                    <a:pt x="491" y="523"/>
                    <a:pt x="489" y="520"/>
                  </a:cubicBezTo>
                  <a:cubicBezTo>
                    <a:pt x="489" y="518"/>
                    <a:pt x="488" y="517"/>
                    <a:pt x="489" y="515"/>
                  </a:cubicBezTo>
                  <a:cubicBezTo>
                    <a:pt x="488" y="514"/>
                    <a:pt x="488" y="513"/>
                    <a:pt x="487" y="513"/>
                  </a:cubicBezTo>
                  <a:cubicBezTo>
                    <a:pt x="484" y="512"/>
                    <a:pt x="483" y="514"/>
                    <a:pt x="480" y="514"/>
                  </a:cubicBezTo>
                  <a:cubicBezTo>
                    <a:pt x="480" y="514"/>
                    <a:pt x="480" y="515"/>
                    <a:pt x="480" y="515"/>
                  </a:cubicBezTo>
                  <a:cubicBezTo>
                    <a:pt x="480" y="516"/>
                    <a:pt x="479" y="516"/>
                    <a:pt x="479" y="516"/>
                  </a:cubicBezTo>
                  <a:cubicBezTo>
                    <a:pt x="479" y="517"/>
                    <a:pt x="479" y="517"/>
                    <a:pt x="479" y="518"/>
                  </a:cubicBezTo>
                  <a:cubicBezTo>
                    <a:pt x="479" y="518"/>
                    <a:pt x="478" y="518"/>
                    <a:pt x="478" y="519"/>
                  </a:cubicBezTo>
                  <a:cubicBezTo>
                    <a:pt x="480" y="519"/>
                    <a:pt x="481" y="518"/>
                    <a:pt x="482" y="518"/>
                  </a:cubicBezTo>
                  <a:cubicBezTo>
                    <a:pt x="484" y="519"/>
                    <a:pt x="485" y="520"/>
                    <a:pt x="485" y="522"/>
                  </a:cubicBezTo>
                  <a:cubicBezTo>
                    <a:pt x="484" y="522"/>
                    <a:pt x="483" y="521"/>
                    <a:pt x="482" y="521"/>
                  </a:cubicBezTo>
                  <a:cubicBezTo>
                    <a:pt x="483" y="523"/>
                    <a:pt x="485" y="525"/>
                    <a:pt x="487" y="524"/>
                  </a:cubicBezTo>
                  <a:cubicBezTo>
                    <a:pt x="488" y="525"/>
                    <a:pt x="488" y="525"/>
                    <a:pt x="488" y="526"/>
                  </a:cubicBezTo>
                  <a:cubicBezTo>
                    <a:pt x="488" y="527"/>
                    <a:pt x="487" y="527"/>
                    <a:pt x="486" y="528"/>
                  </a:cubicBezTo>
                  <a:cubicBezTo>
                    <a:pt x="486" y="528"/>
                    <a:pt x="485" y="528"/>
                    <a:pt x="485" y="529"/>
                  </a:cubicBezTo>
                  <a:cubicBezTo>
                    <a:pt x="486" y="529"/>
                    <a:pt x="487" y="529"/>
                    <a:pt x="488" y="530"/>
                  </a:cubicBezTo>
                  <a:cubicBezTo>
                    <a:pt x="489" y="530"/>
                    <a:pt x="491" y="530"/>
                    <a:pt x="491" y="531"/>
                  </a:cubicBezTo>
                  <a:cubicBezTo>
                    <a:pt x="489" y="534"/>
                    <a:pt x="487" y="536"/>
                    <a:pt x="486" y="539"/>
                  </a:cubicBezTo>
                  <a:cubicBezTo>
                    <a:pt x="485" y="539"/>
                    <a:pt x="485" y="540"/>
                    <a:pt x="484" y="540"/>
                  </a:cubicBezTo>
                  <a:cubicBezTo>
                    <a:pt x="485" y="539"/>
                    <a:pt x="483" y="537"/>
                    <a:pt x="484" y="536"/>
                  </a:cubicBezTo>
                  <a:cubicBezTo>
                    <a:pt x="485" y="535"/>
                    <a:pt x="483" y="535"/>
                    <a:pt x="483" y="534"/>
                  </a:cubicBezTo>
                  <a:cubicBezTo>
                    <a:pt x="483" y="530"/>
                    <a:pt x="482" y="528"/>
                    <a:pt x="482" y="525"/>
                  </a:cubicBezTo>
                  <a:cubicBezTo>
                    <a:pt x="482" y="525"/>
                    <a:pt x="482" y="525"/>
                    <a:pt x="482" y="525"/>
                  </a:cubicBezTo>
                  <a:cubicBezTo>
                    <a:pt x="480" y="523"/>
                    <a:pt x="476" y="524"/>
                    <a:pt x="474" y="525"/>
                  </a:cubicBezTo>
                  <a:cubicBezTo>
                    <a:pt x="472" y="524"/>
                    <a:pt x="469" y="524"/>
                    <a:pt x="468" y="526"/>
                  </a:cubicBezTo>
                  <a:cubicBezTo>
                    <a:pt x="470" y="526"/>
                    <a:pt x="470" y="527"/>
                    <a:pt x="470" y="530"/>
                  </a:cubicBezTo>
                  <a:cubicBezTo>
                    <a:pt x="471" y="531"/>
                    <a:pt x="474" y="531"/>
                    <a:pt x="475" y="532"/>
                  </a:cubicBezTo>
                  <a:cubicBezTo>
                    <a:pt x="476" y="532"/>
                    <a:pt x="476" y="530"/>
                    <a:pt x="477" y="530"/>
                  </a:cubicBezTo>
                  <a:cubicBezTo>
                    <a:pt x="478" y="532"/>
                    <a:pt x="479" y="534"/>
                    <a:pt x="479" y="536"/>
                  </a:cubicBezTo>
                  <a:cubicBezTo>
                    <a:pt x="478" y="535"/>
                    <a:pt x="477" y="536"/>
                    <a:pt x="477" y="536"/>
                  </a:cubicBezTo>
                  <a:cubicBezTo>
                    <a:pt x="478" y="536"/>
                    <a:pt x="480" y="536"/>
                    <a:pt x="480" y="537"/>
                  </a:cubicBezTo>
                  <a:cubicBezTo>
                    <a:pt x="480" y="537"/>
                    <a:pt x="480" y="538"/>
                    <a:pt x="480" y="538"/>
                  </a:cubicBezTo>
                  <a:cubicBezTo>
                    <a:pt x="480" y="539"/>
                    <a:pt x="481" y="538"/>
                    <a:pt x="481" y="539"/>
                  </a:cubicBezTo>
                  <a:cubicBezTo>
                    <a:pt x="481" y="540"/>
                    <a:pt x="480" y="541"/>
                    <a:pt x="480" y="542"/>
                  </a:cubicBezTo>
                  <a:cubicBezTo>
                    <a:pt x="480" y="541"/>
                    <a:pt x="479" y="540"/>
                    <a:pt x="477" y="539"/>
                  </a:cubicBezTo>
                  <a:cubicBezTo>
                    <a:pt x="477" y="539"/>
                    <a:pt x="476" y="537"/>
                    <a:pt x="475" y="537"/>
                  </a:cubicBezTo>
                  <a:cubicBezTo>
                    <a:pt x="474" y="536"/>
                    <a:pt x="474" y="537"/>
                    <a:pt x="474" y="536"/>
                  </a:cubicBezTo>
                  <a:cubicBezTo>
                    <a:pt x="473" y="536"/>
                    <a:pt x="473" y="536"/>
                    <a:pt x="473" y="536"/>
                  </a:cubicBezTo>
                  <a:cubicBezTo>
                    <a:pt x="473" y="535"/>
                    <a:pt x="472" y="535"/>
                    <a:pt x="472" y="535"/>
                  </a:cubicBezTo>
                  <a:cubicBezTo>
                    <a:pt x="472" y="535"/>
                    <a:pt x="472" y="534"/>
                    <a:pt x="472" y="534"/>
                  </a:cubicBezTo>
                  <a:cubicBezTo>
                    <a:pt x="470" y="533"/>
                    <a:pt x="467" y="533"/>
                    <a:pt x="465" y="534"/>
                  </a:cubicBezTo>
                  <a:cubicBezTo>
                    <a:pt x="467" y="534"/>
                    <a:pt x="467" y="534"/>
                    <a:pt x="467" y="534"/>
                  </a:cubicBezTo>
                  <a:cubicBezTo>
                    <a:pt x="471" y="537"/>
                    <a:pt x="476" y="539"/>
                    <a:pt x="479" y="544"/>
                  </a:cubicBezTo>
                  <a:cubicBezTo>
                    <a:pt x="480" y="544"/>
                    <a:pt x="481" y="545"/>
                    <a:pt x="480" y="546"/>
                  </a:cubicBezTo>
                  <a:cubicBezTo>
                    <a:pt x="480" y="547"/>
                    <a:pt x="480" y="548"/>
                    <a:pt x="479" y="548"/>
                  </a:cubicBezTo>
                  <a:cubicBezTo>
                    <a:pt x="477" y="547"/>
                    <a:pt x="476" y="546"/>
                    <a:pt x="474" y="544"/>
                  </a:cubicBezTo>
                  <a:cubicBezTo>
                    <a:pt x="473" y="544"/>
                    <a:pt x="473" y="544"/>
                    <a:pt x="472" y="544"/>
                  </a:cubicBezTo>
                  <a:cubicBezTo>
                    <a:pt x="470" y="542"/>
                    <a:pt x="467" y="540"/>
                    <a:pt x="463" y="540"/>
                  </a:cubicBezTo>
                  <a:cubicBezTo>
                    <a:pt x="462" y="541"/>
                    <a:pt x="461" y="541"/>
                    <a:pt x="461" y="542"/>
                  </a:cubicBezTo>
                  <a:cubicBezTo>
                    <a:pt x="463" y="542"/>
                    <a:pt x="465" y="542"/>
                    <a:pt x="467" y="542"/>
                  </a:cubicBezTo>
                  <a:cubicBezTo>
                    <a:pt x="468" y="542"/>
                    <a:pt x="469" y="543"/>
                    <a:pt x="470" y="544"/>
                  </a:cubicBezTo>
                  <a:cubicBezTo>
                    <a:pt x="471" y="544"/>
                    <a:pt x="472" y="544"/>
                    <a:pt x="472" y="544"/>
                  </a:cubicBezTo>
                  <a:cubicBezTo>
                    <a:pt x="473" y="544"/>
                    <a:pt x="473" y="545"/>
                    <a:pt x="473" y="545"/>
                  </a:cubicBezTo>
                  <a:cubicBezTo>
                    <a:pt x="475" y="546"/>
                    <a:pt x="477" y="547"/>
                    <a:pt x="478" y="550"/>
                  </a:cubicBezTo>
                  <a:cubicBezTo>
                    <a:pt x="477" y="553"/>
                    <a:pt x="474" y="555"/>
                    <a:pt x="472" y="558"/>
                  </a:cubicBezTo>
                  <a:cubicBezTo>
                    <a:pt x="471" y="558"/>
                    <a:pt x="469" y="558"/>
                    <a:pt x="468" y="559"/>
                  </a:cubicBezTo>
                  <a:cubicBezTo>
                    <a:pt x="468" y="562"/>
                    <a:pt x="469" y="564"/>
                    <a:pt x="469" y="567"/>
                  </a:cubicBezTo>
                  <a:cubicBezTo>
                    <a:pt x="470" y="568"/>
                    <a:pt x="473" y="567"/>
                    <a:pt x="474" y="566"/>
                  </a:cubicBezTo>
                  <a:cubicBezTo>
                    <a:pt x="475" y="563"/>
                    <a:pt x="474" y="560"/>
                    <a:pt x="475" y="557"/>
                  </a:cubicBezTo>
                  <a:cubicBezTo>
                    <a:pt x="476" y="556"/>
                    <a:pt x="476" y="554"/>
                    <a:pt x="477" y="554"/>
                  </a:cubicBezTo>
                  <a:cubicBezTo>
                    <a:pt x="478" y="553"/>
                    <a:pt x="478" y="551"/>
                    <a:pt x="479" y="551"/>
                  </a:cubicBezTo>
                  <a:cubicBezTo>
                    <a:pt x="480" y="551"/>
                    <a:pt x="482" y="553"/>
                    <a:pt x="482" y="552"/>
                  </a:cubicBezTo>
                  <a:cubicBezTo>
                    <a:pt x="481" y="551"/>
                    <a:pt x="480" y="550"/>
                    <a:pt x="480" y="549"/>
                  </a:cubicBezTo>
                  <a:cubicBezTo>
                    <a:pt x="481" y="548"/>
                    <a:pt x="482" y="546"/>
                    <a:pt x="484" y="547"/>
                  </a:cubicBezTo>
                  <a:cubicBezTo>
                    <a:pt x="485" y="545"/>
                    <a:pt x="483" y="546"/>
                    <a:pt x="483" y="545"/>
                  </a:cubicBezTo>
                  <a:cubicBezTo>
                    <a:pt x="485" y="541"/>
                    <a:pt x="488" y="538"/>
                    <a:pt x="490" y="534"/>
                  </a:cubicBezTo>
                  <a:cubicBezTo>
                    <a:pt x="492" y="535"/>
                    <a:pt x="493" y="537"/>
                    <a:pt x="495" y="535"/>
                  </a:cubicBezTo>
                  <a:cubicBezTo>
                    <a:pt x="496" y="533"/>
                    <a:pt x="494" y="532"/>
                    <a:pt x="495" y="530"/>
                  </a:cubicBezTo>
                  <a:cubicBezTo>
                    <a:pt x="495" y="529"/>
                    <a:pt x="497" y="528"/>
                    <a:pt x="498" y="528"/>
                  </a:cubicBezTo>
                  <a:cubicBezTo>
                    <a:pt x="498" y="527"/>
                    <a:pt x="499" y="525"/>
                    <a:pt x="500" y="526"/>
                  </a:cubicBezTo>
                  <a:cubicBezTo>
                    <a:pt x="500" y="527"/>
                    <a:pt x="499" y="528"/>
                    <a:pt x="498" y="529"/>
                  </a:cubicBezTo>
                  <a:close/>
                  <a:moveTo>
                    <a:pt x="334" y="438"/>
                  </a:moveTo>
                  <a:cubicBezTo>
                    <a:pt x="333" y="438"/>
                    <a:pt x="333" y="438"/>
                    <a:pt x="333" y="438"/>
                  </a:cubicBezTo>
                  <a:cubicBezTo>
                    <a:pt x="333" y="438"/>
                    <a:pt x="334" y="438"/>
                    <a:pt x="334" y="438"/>
                  </a:cubicBezTo>
                  <a:close/>
                  <a:moveTo>
                    <a:pt x="399" y="421"/>
                  </a:moveTo>
                  <a:cubicBezTo>
                    <a:pt x="396" y="421"/>
                    <a:pt x="393" y="422"/>
                    <a:pt x="390" y="422"/>
                  </a:cubicBezTo>
                  <a:cubicBezTo>
                    <a:pt x="386" y="433"/>
                    <a:pt x="384" y="445"/>
                    <a:pt x="381" y="456"/>
                  </a:cubicBezTo>
                  <a:cubicBezTo>
                    <a:pt x="382" y="461"/>
                    <a:pt x="383" y="466"/>
                    <a:pt x="384" y="470"/>
                  </a:cubicBezTo>
                  <a:cubicBezTo>
                    <a:pt x="388" y="470"/>
                    <a:pt x="392" y="471"/>
                    <a:pt x="396" y="471"/>
                  </a:cubicBezTo>
                  <a:cubicBezTo>
                    <a:pt x="400" y="472"/>
                    <a:pt x="404" y="472"/>
                    <a:pt x="407" y="472"/>
                  </a:cubicBezTo>
                  <a:cubicBezTo>
                    <a:pt x="404" y="455"/>
                    <a:pt x="403" y="437"/>
                    <a:pt x="399" y="421"/>
                  </a:cubicBezTo>
                  <a:close/>
                  <a:moveTo>
                    <a:pt x="235" y="420"/>
                  </a:moveTo>
                  <a:cubicBezTo>
                    <a:pt x="240" y="422"/>
                    <a:pt x="245" y="423"/>
                    <a:pt x="250" y="425"/>
                  </a:cubicBezTo>
                  <a:cubicBezTo>
                    <a:pt x="254" y="436"/>
                    <a:pt x="258" y="446"/>
                    <a:pt x="262" y="458"/>
                  </a:cubicBezTo>
                  <a:cubicBezTo>
                    <a:pt x="274" y="455"/>
                    <a:pt x="285" y="451"/>
                    <a:pt x="297" y="448"/>
                  </a:cubicBezTo>
                  <a:cubicBezTo>
                    <a:pt x="309" y="445"/>
                    <a:pt x="321" y="442"/>
                    <a:pt x="332" y="438"/>
                  </a:cubicBezTo>
                  <a:cubicBezTo>
                    <a:pt x="312" y="441"/>
                    <a:pt x="292" y="444"/>
                    <a:pt x="272" y="447"/>
                  </a:cubicBezTo>
                  <a:cubicBezTo>
                    <a:pt x="270" y="440"/>
                    <a:pt x="267" y="432"/>
                    <a:pt x="265" y="425"/>
                  </a:cubicBezTo>
                  <a:cubicBezTo>
                    <a:pt x="264" y="421"/>
                    <a:pt x="263" y="417"/>
                    <a:pt x="262" y="414"/>
                  </a:cubicBezTo>
                  <a:cubicBezTo>
                    <a:pt x="261" y="413"/>
                    <a:pt x="262" y="412"/>
                    <a:pt x="260" y="412"/>
                  </a:cubicBezTo>
                  <a:cubicBezTo>
                    <a:pt x="252" y="414"/>
                    <a:pt x="243" y="417"/>
                    <a:pt x="235" y="420"/>
                  </a:cubicBezTo>
                  <a:close/>
                  <a:moveTo>
                    <a:pt x="332" y="402"/>
                  </a:moveTo>
                  <a:cubicBezTo>
                    <a:pt x="332" y="401"/>
                    <a:pt x="331" y="402"/>
                    <a:pt x="332" y="402"/>
                  </a:cubicBezTo>
                  <a:cubicBezTo>
                    <a:pt x="332" y="402"/>
                    <a:pt x="332" y="402"/>
                    <a:pt x="332" y="402"/>
                  </a:cubicBezTo>
                  <a:close/>
                  <a:moveTo>
                    <a:pt x="41" y="415"/>
                  </a:moveTo>
                  <a:cubicBezTo>
                    <a:pt x="41" y="420"/>
                    <a:pt x="43" y="425"/>
                    <a:pt x="45" y="428"/>
                  </a:cubicBezTo>
                  <a:cubicBezTo>
                    <a:pt x="49" y="434"/>
                    <a:pt x="55" y="437"/>
                    <a:pt x="63" y="435"/>
                  </a:cubicBezTo>
                  <a:cubicBezTo>
                    <a:pt x="72" y="434"/>
                    <a:pt x="80" y="428"/>
                    <a:pt x="81" y="419"/>
                  </a:cubicBezTo>
                  <a:cubicBezTo>
                    <a:pt x="82" y="415"/>
                    <a:pt x="81" y="411"/>
                    <a:pt x="80" y="408"/>
                  </a:cubicBezTo>
                  <a:cubicBezTo>
                    <a:pt x="78" y="405"/>
                    <a:pt x="77" y="403"/>
                    <a:pt x="75" y="402"/>
                  </a:cubicBezTo>
                  <a:cubicBezTo>
                    <a:pt x="74" y="401"/>
                    <a:pt x="74" y="400"/>
                    <a:pt x="73" y="399"/>
                  </a:cubicBezTo>
                  <a:cubicBezTo>
                    <a:pt x="72" y="399"/>
                    <a:pt x="71" y="399"/>
                    <a:pt x="70" y="398"/>
                  </a:cubicBezTo>
                  <a:cubicBezTo>
                    <a:pt x="69" y="398"/>
                    <a:pt x="68" y="397"/>
                    <a:pt x="67" y="397"/>
                  </a:cubicBezTo>
                  <a:cubicBezTo>
                    <a:pt x="63" y="397"/>
                    <a:pt x="63" y="397"/>
                    <a:pt x="63" y="397"/>
                  </a:cubicBezTo>
                  <a:cubicBezTo>
                    <a:pt x="62" y="400"/>
                    <a:pt x="63" y="402"/>
                    <a:pt x="63" y="405"/>
                  </a:cubicBezTo>
                  <a:cubicBezTo>
                    <a:pt x="65" y="405"/>
                    <a:pt x="68" y="405"/>
                    <a:pt x="69" y="406"/>
                  </a:cubicBezTo>
                  <a:cubicBezTo>
                    <a:pt x="71" y="407"/>
                    <a:pt x="73" y="409"/>
                    <a:pt x="74" y="411"/>
                  </a:cubicBezTo>
                  <a:cubicBezTo>
                    <a:pt x="76" y="415"/>
                    <a:pt x="74" y="420"/>
                    <a:pt x="71" y="422"/>
                  </a:cubicBezTo>
                  <a:cubicBezTo>
                    <a:pt x="70" y="424"/>
                    <a:pt x="69" y="424"/>
                    <a:pt x="67" y="425"/>
                  </a:cubicBezTo>
                  <a:cubicBezTo>
                    <a:pt x="66" y="425"/>
                    <a:pt x="65" y="426"/>
                    <a:pt x="64" y="426"/>
                  </a:cubicBezTo>
                  <a:cubicBezTo>
                    <a:pt x="62" y="427"/>
                    <a:pt x="58" y="428"/>
                    <a:pt x="57" y="427"/>
                  </a:cubicBezTo>
                  <a:cubicBezTo>
                    <a:pt x="55" y="427"/>
                    <a:pt x="53" y="426"/>
                    <a:pt x="52" y="425"/>
                  </a:cubicBezTo>
                  <a:cubicBezTo>
                    <a:pt x="52" y="425"/>
                    <a:pt x="51" y="425"/>
                    <a:pt x="51" y="425"/>
                  </a:cubicBezTo>
                  <a:cubicBezTo>
                    <a:pt x="50" y="424"/>
                    <a:pt x="50" y="423"/>
                    <a:pt x="50" y="422"/>
                  </a:cubicBezTo>
                  <a:cubicBezTo>
                    <a:pt x="48" y="420"/>
                    <a:pt x="48" y="418"/>
                    <a:pt x="48" y="414"/>
                  </a:cubicBezTo>
                  <a:cubicBezTo>
                    <a:pt x="49" y="414"/>
                    <a:pt x="49" y="412"/>
                    <a:pt x="50" y="412"/>
                  </a:cubicBezTo>
                  <a:cubicBezTo>
                    <a:pt x="50" y="411"/>
                    <a:pt x="51" y="411"/>
                    <a:pt x="51" y="409"/>
                  </a:cubicBezTo>
                  <a:cubicBezTo>
                    <a:pt x="50" y="407"/>
                    <a:pt x="49" y="404"/>
                    <a:pt x="47" y="402"/>
                  </a:cubicBezTo>
                  <a:cubicBezTo>
                    <a:pt x="44" y="406"/>
                    <a:pt x="41" y="409"/>
                    <a:pt x="41" y="415"/>
                  </a:cubicBezTo>
                  <a:close/>
                  <a:moveTo>
                    <a:pt x="401" y="403"/>
                  </a:moveTo>
                  <a:cubicBezTo>
                    <a:pt x="396" y="402"/>
                    <a:pt x="391" y="401"/>
                    <a:pt x="386" y="400"/>
                  </a:cubicBezTo>
                  <a:cubicBezTo>
                    <a:pt x="375" y="404"/>
                    <a:pt x="364" y="408"/>
                    <a:pt x="353" y="412"/>
                  </a:cubicBezTo>
                  <a:cubicBezTo>
                    <a:pt x="346" y="409"/>
                    <a:pt x="339" y="406"/>
                    <a:pt x="332" y="402"/>
                  </a:cubicBezTo>
                  <a:cubicBezTo>
                    <a:pt x="334" y="402"/>
                    <a:pt x="336" y="403"/>
                    <a:pt x="337" y="403"/>
                  </a:cubicBezTo>
                  <a:cubicBezTo>
                    <a:pt x="341" y="404"/>
                    <a:pt x="344" y="405"/>
                    <a:pt x="348" y="406"/>
                  </a:cubicBezTo>
                  <a:cubicBezTo>
                    <a:pt x="349" y="406"/>
                    <a:pt x="352" y="407"/>
                    <a:pt x="353" y="407"/>
                  </a:cubicBezTo>
                  <a:cubicBezTo>
                    <a:pt x="355" y="407"/>
                    <a:pt x="358" y="405"/>
                    <a:pt x="359" y="405"/>
                  </a:cubicBezTo>
                  <a:cubicBezTo>
                    <a:pt x="360" y="405"/>
                    <a:pt x="361" y="404"/>
                    <a:pt x="362" y="404"/>
                  </a:cubicBezTo>
                  <a:cubicBezTo>
                    <a:pt x="364" y="403"/>
                    <a:pt x="366" y="402"/>
                    <a:pt x="367" y="402"/>
                  </a:cubicBezTo>
                  <a:cubicBezTo>
                    <a:pt x="368" y="401"/>
                    <a:pt x="369" y="401"/>
                    <a:pt x="370" y="401"/>
                  </a:cubicBezTo>
                  <a:cubicBezTo>
                    <a:pt x="371" y="400"/>
                    <a:pt x="372" y="400"/>
                    <a:pt x="373" y="400"/>
                  </a:cubicBezTo>
                  <a:cubicBezTo>
                    <a:pt x="375" y="399"/>
                    <a:pt x="377" y="398"/>
                    <a:pt x="378" y="398"/>
                  </a:cubicBezTo>
                  <a:cubicBezTo>
                    <a:pt x="380" y="397"/>
                    <a:pt x="384" y="395"/>
                    <a:pt x="385" y="395"/>
                  </a:cubicBezTo>
                  <a:cubicBezTo>
                    <a:pt x="386" y="395"/>
                    <a:pt x="388" y="396"/>
                    <a:pt x="390" y="397"/>
                  </a:cubicBezTo>
                  <a:cubicBezTo>
                    <a:pt x="393" y="398"/>
                    <a:pt x="398" y="401"/>
                    <a:pt x="401" y="403"/>
                  </a:cubicBezTo>
                  <a:cubicBezTo>
                    <a:pt x="403" y="402"/>
                    <a:pt x="401" y="404"/>
                    <a:pt x="401" y="403"/>
                  </a:cubicBezTo>
                  <a:close/>
                  <a:moveTo>
                    <a:pt x="573" y="392"/>
                  </a:moveTo>
                  <a:cubicBezTo>
                    <a:pt x="581" y="394"/>
                    <a:pt x="590" y="397"/>
                    <a:pt x="597" y="400"/>
                  </a:cubicBezTo>
                  <a:cubicBezTo>
                    <a:pt x="598" y="400"/>
                    <a:pt x="600" y="400"/>
                    <a:pt x="600" y="401"/>
                  </a:cubicBezTo>
                  <a:cubicBezTo>
                    <a:pt x="591" y="400"/>
                    <a:pt x="580" y="400"/>
                    <a:pt x="571" y="400"/>
                  </a:cubicBezTo>
                  <a:cubicBezTo>
                    <a:pt x="570" y="402"/>
                    <a:pt x="569" y="405"/>
                    <a:pt x="568" y="408"/>
                  </a:cubicBezTo>
                  <a:cubicBezTo>
                    <a:pt x="572" y="410"/>
                    <a:pt x="575" y="412"/>
                    <a:pt x="579" y="415"/>
                  </a:cubicBezTo>
                  <a:cubicBezTo>
                    <a:pt x="583" y="417"/>
                    <a:pt x="587" y="420"/>
                    <a:pt x="590" y="422"/>
                  </a:cubicBezTo>
                  <a:cubicBezTo>
                    <a:pt x="591" y="423"/>
                    <a:pt x="593" y="423"/>
                    <a:pt x="593" y="425"/>
                  </a:cubicBezTo>
                  <a:cubicBezTo>
                    <a:pt x="584" y="422"/>
                    <a:pt x="575" y="419"/>
                    <a:pt x="565" y="416"/>
                  </a:cubicBezTo>
                  <a:cubicBezTo>
                    <a:pt x="565" y="418"/>
                    <a:pt x="564" y="420"/>
                    <a:pt x="563" y="423"/>
                  </a:cubicBezTo>
                  <a:cubicBezTo>
                    <a:pt x="575" y="427"/>
                    <a:pt x="587" y="431"/>
                    <a:pt x="600" y="435"/>
                  </a:cubicBezTo>
                  <a:cubicBezTo>
                    <a:pt x="601" y="431"/>
                    <a:pt x="602" y="427"/>
                    <a:pt x="603" y="423"/>
                  </a:cubicBezTo>
                  <a:cubicBezTo>
                    <a:pt x="597" y="419"/>
                    <a:pt x="590" y="414"/>
                    <a:pt x="584" y="410"/>
                  </a:cubicBezTo>
                  <a:cubicBezTo>
                    <a:pt x="583" y="409"/>
                    <a:pt x="582" y="409"/>
                    <a:pt x="581" y="407"/>
                  </a:cubicBezTo>
                  <a:cubicBezTo>
                    <a:pt x="590" y="408"/>
                    <a:pt x="599" y="408"/>
                    <a:pt x="608" y="408"/>
                  </a:cubicBezTo>
                  <a:cubicBezTo>
                    <a:pt x="610" y="404"/>
                    <a:pt x="611" y="400"/>
                    <a:pt x="612" y="396"/>
                  </a:cubicBezTo>
                  <a:cubicBezTo>
                    <a:pt x="600" y="392"/>
                    <a:pt x="588" y="388"/>
                    <a:pt x="576" y="384"/>
                  </a:cubicBezTo>
                  <a:cubicBezTo>
                    <a:pt x="575" y="387"/>
                    <a:pt x="574" y="389"/>
                    <a:pt x="573" y="392"/>
                  </a:cubicBezTo>
                  <a:close/>
                  <a:moveTo>
                    <a:pt x="387" y="372"/>
                  </a:moveTo>
                  <a:cubicBezTo>
                    <a:pt x="385" y="372"/>
                    <a:pt x="381" y="370"/>
                    <a:pt x="380" y="370"/>
                  </a:cubicBezTo>
                  <a:cubicBezTo>
                    <a:pt x="375" y="371"/>
                    <a:pt x="371" y="373"/>
                    <a:pt x="367" y="375"/>
                  </a:cubicBezTo>
                  <a:cubicBezTo>
                    <a:pt x="362" y="376"/>
                    <a:pt x="358" y="377"/>
                    <a:pt x="353" y="378"/>
                  </a:cubicBezTo>
                  <a:cubicBezTo>
                    <a:pt x="352" y="380"/>
                    <a:pt x="349" y="382"/>
                    <a:pt x="348" y="383"/>
                  </a:cubicBezTo>
                  <a:cubicBezTo>
                    <a:pt x="348" y="384"/>
                    <a:pt x="346" y="385"/>
                    <a:pt x="348" y="385"/>
                  </a:cubicBezTo>
                  <a:cubicBezTo>
                    <a:pt x="356" y="383"/>
                    <a:pt x="365" y="381"/>
                    <a:pt x="374" y="379"/>
                  </a:cubicBezTo>
                  <a:cubicBezTo>
                    <a:pt x="378" y="378"/>
                    <a:pt x="380" y="379"/>
                    <a:pt x="384" y="379"/>
                  </a:cubicBezTo>
                  <a:cubicBezTo>
                    <a:pt x="391" y="381"/>
                    <a:pt x="397" y="382"/>
                    <a:pt x="403" y="383"/>
                  </a:cubicBezTo>
                  <a:cubicBezTo>
                    <a:pt x="405" y="382"/>
                    <a:pt x="406" y="380"/>
                    <a:pt x="408" y="379"/>
                  </a:cubicBezTo>
                  <a:cubicBezTo>
                    <a:pt x="401" y="377"/>
                    <a:pt x="394" y="374"/>
                    <a:pt x="387" y="372"/>
                  </a:cubicBezTo>
                  <a:close/>
                  <a:moveTo>
                    <a:pt x="418" y="369"/>
                  </a:moveTo>
                  <a:cubicBezTo>
                    <a:pt x="419" y="370"/>
                    <a:pt x="420" y="370"/>
                    <a:pt x="420" y="371"/>
                  </a:cubicBezTo>
                  <a:cubicBezTo>
                    <a:pt x="418" y="372"/>
                    <a:pt x="417" y="374"/>
                    <a:pt x="415" y="375"/>
                  </a:cubicBezTo>
                  <a:cubicBezTo>
                    <a:pt x="407" y="370"/>
                    <a:pt x="398" y="365"/>
                    <a:pt x="390" y="361"/>
                  </a:cubicBezTo>
                  <a:cubicBezTo>
                    <a:pt x="392" y="358"/>
                    <a:pt x="395" y="357"/>
                    <a:pt x="397" y="354"/>
                  </a:cubicBezTo>
                  <a:cubicBezTo>
                    <a:pt x="397" y="354"/>
                    <a:pt x="397" y="354"/>
                    <a:pt x="398" y="354"/>
                  </a:cubicBezTo>
                  <a:cubicBezTo>
                    <a:pt x="404" y="359"/>
                    <a:pt x="411" y="364"/>
                    <a:pt x="418" y="369"/>
                  </a:cubicBezTo>
                  <a:close/>
                  <a:moveTo>
                    <a:pt x="257" y="371"/>
                  </a:moveTo>
                  <a:cubicBezTo>
                    <a:pt x="273" y="371"/>
                    <a:pt x="273" y="371"/>
                    <a:pt x="273" y="371"/>
                  </a:cubicBezTo>
                  <a:cubicBezTo>
                    <a:pt x="273" y="354"/>
                    <a:pt x="273" y="354"/>
                    <a:pt x="273" y="354"/>
                  </a:cubicBezTo>
                  <a:cubicBezTo>
                    <a:pt x="257" y="354"/>
                    <a:pt x="257" y="354"/>
                    <a:pt x="257" y="354"/>
                  </a:cubicBezTo>
                  <a:cubicBezTo>
                    <a:pt x="257" y="371"/>
                    <a:pt x="257" y="371"/>
                    <a:pt x="257" y="371"/>
                  </a:cubicBezTo>
                  <a:close/>
                  <a:moveTo>
                    <a:pt x="257" y="354"/>
                  </a:moveTo>
                  <a:cubicBezTo>
                    <a:pt x="257" y="354"/>
                    <a:pt x="257" y="354"/>
                    <a:pt x="257" y="354"/>
                  </a:cubicBezTo>
                  <a:moveTo>
                    <a:pt x="249" y="371"/>
                  </a:moveTo>
                  <a:cubicBezTo>
                    <a:pt x="252" y="371"/>
                    <a:pt x="252" y="371"/>
                    <a:pt x="252" y="371"/>
                  </a:cubicBezTo>
                  <a:cubicBezTo>
                    <a:pt x="252" y="353"/>
                    <a:pt x="252" y="353"/>
                    <a:pt x="252" y="353"/>
                  </a:cubicBezTo>
                  <a:cubicBezTo>
                    <a:pt x="249" y="353"/>
                    <a:pt x="249" y="353"/>
                    <a:pt x="249" y="353"/>
                  </a:cubicBezTo>
                  <a:cubicBezTo>
                    <a:pt x="249" y="371"/>
                    <a:pt x="249" y="371"/>
                    <a:pt x="249" y="371"/>
                  </a:cubicBezTo>
                  <a:close/>
                  <a:moveTo>
                    <a:pt x="249" y="353"/>
                  </a:moveTo>
                  <a:cubicBezTo>
                    <a:pt x="249" y="353"/>
                    <a:pt x="249" y="353"/>
                    <a:pt x="249" y="353"/>
                  </a:cubicBezTo>
                  <a:moveTo>
                    <a:pt x="65" y="353"/>
                  </a:moveTo>
                  <a:cubicBezTo>
                    <a:pt x="56" y="355"/>
                    <a:pt x="46" y="357"/>
                    <a:pt x="37" y="359"/>
                  </a:cubicBezTo>
                  <a:cubicBezTo>
                    <a:pt x="34" y="359"/>
                    <a:pt x="30" y="359"/>
                    <a:pt x="28" y="360"/>
                  </a:cubicBezTo>
                  <a:cubicBezTo>
                    <a:pt x="29" y="363"/>
                    <a:pt x="29" y="366"/>
                    <a:pt x="30" y="368"/>
                  </a:cubicBezTo>
                  <a:cubicBezTo>
                    <a:pt x="35" y="367"/>
                    <a:pt x="39" y="366"/>
                    <a:pt x="45" y="366"/>
                  </a:cubicBezTo>
                  <a:cubicBezTo>
                    <a:pt x="45" y="372"/>
                    <a:pt x="47" y="376"/>
                    <a:pt x="47" y="383"/>
                  </a:cubicBezTo>
                  <a:cubicBezTo>
                    <a:pt x="42" y="383"/>
                    <a:pt x="38" y="384"/>
                    <a:pt x="33" y="385"/>
                  </a:cubicBezTo>
                  <a:cubicBezTo>
                    <a:pt x="32" y="387"/>
                    <a:pt x="34" y="390"/>
                    <a:pt x="34" y="393"/>
                  </a:cubicBezTo>
                  <a:cubicBezTo>
                    <a:pt x="47" y="391"/>
                    <a:pt x="59" y="389"/>
                    <a:pt x="72" y="387"/>
                  </a:cubicBezTo>
                  <a:cubicBezTo>
                    <a:pt x="72" y="385"/>
                    <a:pt x="71" y="381"/>
                    <a:pt x="71" y="378"/>
                  </a:cubicBezTo>
                  <a:cubicBezTo>
                    <a:pt x="65" y="379"/>
                    <a:pt x="60" y="381"/>
                    <a:pt x="54" y="381"/>
                  </a:cubicBezTo>
                  <a:cubicBezTo>
                    <a:pt x="53" y="376"/>
                    <a:pt x="52" y="370"/>
                    <a:pt x="51" y="365"/>
                  </a:cubicBezTo>
                  <a:cubicBezTo>
                    <a:pt x="56" y="363"/>
                    <a:pt x="62" y="362"/>
                    <a:pt x="67" y="362"/>
                  </a:cubicBezTo>
                  <a:cubicBezTo>
                    <a:pt x="67" y="360"/>
                    <a:pt x="67" y="359"/>
                    <a:pt x="67" y="357"/>
                  </a:cubicBezTo>
                  <a:cubicBezTo>
                    <a:pt x="66" y="356"/>
                    <a:pt x="67" y="353"/>
                    <a:pt x="65" y="353"/>
                  </a:cubicBezTo>
                  <a:cubicBezTo>
                    <a:pt x="65" y="353"/>
                    <a:pt x="65" y="353"/>
                    <a:pt x="65" y="353"/>
                  </a:cubicBezTo>
                  <a:close/>
                  <a:moveTo>
                    <a:pt x="280" y="353"/>
                  </a:moveTo>
                  <a:cubicBezTo>
                    <a:pt x="280" y="367"/>
                    <a:pt x="280" y="367"/>
                    <a:pt x="280" y="367"/>
                  </a:cubicBezTo>
                  <a:cubicBezTo>
                    <a:pt x="280" y="368"/>
                    <a:pt x="279" y="371"/>
                    <a:pt x="281" y="371"/>
                  </a:cubicBezTo>
                  <a:cubicBezTo>
                    <a:pt x="282" y="371"/>
                    <a:pt x="282" y="371"/>
                    <a:pt x="282" y="371"/>
                  </a:cubicBezTo>
                  <a:cubicBezTo>
                    <a:pt x="283" y="366"/>
                    <a:pt x="282" y="360"/>
                    <a:pt x="283" y="355"/>
                  </a:cubicBezTo>
                  <a:cubicBezTo>
                    <a:pt x="282" y="354"/>
                    <a:pt x="281" y="353"/>
                    <a:pt x="280" y="352"/>
                  </a:cubicBezTo>
                  <a:cubicBezTo>
                    <a:pt x="280" y="353"/>
                    <a:pt x="280" y="353"/>
                    <a:pt x="280" y="353"/>
                  </a:cubicBezTo>
                  <a:close/>
                  <a:moveTo>
                    <a:pt x="591" y="344"/>
                  </a:moveTo>
                  <a:cubicBezTo>
                    <a:pt x="591" y="344"/>
                    <a:pt x="591" y="344"/>
                    <a:pt x="591" y="344"/>
                  </a:cubicBezTo>
                  <a:cubicBezTo>
                    <a:pt x="589" y="345"/>
                    <a:pt x="586" y="346"/>
                    <a:pt x="585" y="347"/>
                  </a:cubicBezTo>
                  <a:cubicBezTo>
                    <a:pt x="585" y="347"/>
                    <a:pt x="584" y="347"/>
                    <a:pt x="584" y="347"/>
                  </a:cubicBezTo>
                  <a:cubicBezTo>
                    <a:pt x="584" y="347"/>
                    <a:pt x="584" y="348"/>
                    <a:pt x="583" y="349"/>
                  </a:cubicBezTo>
                  <a:cubicBezTo>
                    <a:pt x="582" y="350"/>
                    <a:pt x="581" y="350"/>
                    <a:pt x="581" y="352"/>
                  </a:cubicBezTo>
                  <a:cubicBezTo>
                    <a:pt x="579" y="357"/>
                    <a:pt x="579" y="362"/>
                    <a:pt x="579" y="368"/>
                  </a:cubicBezTo>
                  <a:cubicBezTo>
                    <a:pt x="580" y="371"/>
                    <a:pt x="581" y="374"/>
                    <a:pt x="583" y="376"/>
                  </a:cubicBezTo>
                  <a:cubicBezTo>
                    <a:pt x="592" y="379"/>
                    <a:pt x="604" y="380"/>
                    <a:pt x="615" y="381"/>
                  </a:cubicBezTo>
                  <a:cubicBezTo>
                    <a:pt x="616" y="379"/>
                    <a:pt x="616" y="376"/>
                    <a:pt x="616" y="373"/>
                  </a:cubicBezTo>
                  <a:cubicBezTo>
                    <a:pt x="610" y="373"/>
                    <a:pt x="603" y="371"/>
                    <a:pt x="597" y="370"/>
                  </a:cubicBezTo>
                  <a:cubicBezTo>
                    <a:pt x="592" y="370"/>
                    <a:pt x="588" y="369"/>
                    <a:pt x="586" y="367"/>
                  </a:cubicBezTo>
                  <a:cubicBezTo>
                    <a:pt x="584" y="364"/>
                    <a:pt x="585" y="359"/>
                    <a:pt x="586" y="357"/>
                  </a:cubicBezTo>
                  <a:cubicBezTo>
                    <a:pt x="589" y="352"/>
                    <a:pt x="593" y="353"/>
                    <a:pt x="599" y="354"/>
                  </a:cubicBezTo>
                  <a:cubicBezTo>
                    <a:pt x="605" y="355"/>
                    <a:pt x="613" y="356"/>
                    <a:pt x="619" y="356"/>
                  </a:cubicBezTo>
                  <a:cubicBezTo>
                    <a:pt x="619" y="354"/>
                    <a:pt x="620" y="351"/>
                    <a:pt x="620" y="348"/>
                  </a:cubicBezTo>
                  <a:cubicBezTo>
                    <a:pt x="612" y="347"/>
                    <a:pt x="600" y="345"/>
                    <a:pt x="591" y="344"/>
                  </a:cubicBezTo>
                  <a:close/>
                  <a:moveTo>
                    <a:pt x="27" y="339"/>
                  </a:moveTo>
                  <a:cubicBezTo>
                    <a:pt x="26" y="342"/>
                    <a:pt x="27" y="344"/>
                    <a:pt x="27" y="347"/>
                  </a:cubicBezTo>
                  <a:cubicBezTo>
                    <a:pt x="40" y="346"/>
                    <a:pt x="53" y="346"/>
                    <a:pt x="66" y="345"/>
                  </a:cubicBezTo>
                  <a:cubicBezTo>
                    <a:pt x="65" y="342"/>
                    <a:pt x="65" y="340"/>
                    <a:pt x="65" y="336"/>
                  </a:cubicBezTo>
                  <a:cubicBezTo>
                    <a:pt x="52" y="337"/>
                    <a:pt x="40" y="338"/>
                    <a:pt x="27" y="339"/>
                  </a:cubicBezTo>
                  <a:close/>
                  <a:moveTo>
                    <a:pt x="287" y="339"/>
                  </a:moveTo>
                  <a:cubicBezTo>
                    <a:pt x="294" y="339"/>
                    <a:pt x="294" y="339"/>
                    <a:pt x="294" y="339"/>
                  </a:cubicBezTo>
                  <a:cubicBezTo>
                    <a:pt x="294" y="325"/>
                    <a:pt x="294" y="325"/>
                    <a:pt x="294" y="325"/>
                  </a:cubicBezTo>
                  <a:cubicBezTo>
                    <a:pt x="287" y="325"/>
                    <a:pt x="287" y="325"/>
                    <a:pt x="287" y="325"/>
                  </a:cubicBezTo>
                  <a:cubicBezTo>
                    <a:pt x="287" y="339"/>
                    <a:pt x="287" y="339"/>
                    <a:pt x="287" y="339"/>
                  </a:cubicBezTo>
                  <a:close/>
                  <a:moveTo>
                    <a:pt x="280" y="324"/>
                  </a:moveTo>
                  <a:cubicBezTo>
                    <a:pt x="280" y="336"/>
                    <a:pt x="280" y="336"/>
                    <a:pt x="280" y="336"/>
                  </a:cubicBezTo>
                  <a:cubicBezTo>
                    <a:pt x="280" y="337"/>
                    <a:pt x="279" y="340"/>
                    <a:pt x="281" y="339"/>
                  </a:cubicBezTo>
                  <a:cubicBezTo>
                    <a:pt x="282" y="339"/>
                    <a:pt x="282" y="339"/>
                    <a:pt x="282" y="339"/>
                  </a:cubicBezTo>
                  <a:cubicBezTo>
                    <a:pt x="283" y="336"/>
                    <a:pt x="282" y="330"/>
                    <a:pt x="283" y="325"/>
                  </a:cubicBezTo>
                  <a:cubicBezTo>
                    <a:pt x="282" y="324"/>
                    <a:pt x="281" y="323"/>
                    <a:pt x="280" y="323"/>
                  </a:cubicBezTo>
                  <a:cubicBezTo>
                    <a:pt x="280" y="324"/>
                    <a:pt x="280" y="324"/>
                    <a:pt x="280" y="324"/>
                  </a:cubicBezTo>
                  <a:close/>
                  <a:moveTo>
                    <a:pt x="300" y="318"/>
                  </a:moveTo>
                  <a:cubicBezTo>
                    <a:pt x="299" y="319"/>
                    <a:pt x="299" y="319"/>
                    <a:pt x="298" y="320"/>
                  </a:cubicBezTo>
                  <a:cubicBezTo>
                    <a:pt x="298" y="339"/>
                    <a:pt x="298" y="339"/>
                    <a:pt x="298" y="339"/>
                  </a:cubicBezTo>
                  <a:cubicBezTo>
                    <a:pt x="297" y="342"/>
                    <a:pt x="299" y="342"/>
                    <a:pt x="300" y="343"/>
                  </a:cubicBezTo>
                  <a:cubicBezTo>
                    <a:pt x="300" y="335"/>
                    <a:pt x="301" y="326"/>
                    <a:pt x="300" y="318"/>
                  </a:cubicBezTo>
                  <a:close/>
                  <a:moveTo>
                    <a:pt x="582" y="304"/>
                  </a:moveTo>
                  <a:cubicBezTo>
                    <a:pt x="582" y="315"/>
                    <a:pt x="582" y="325"/>
                    <a:pt x="582" y="336"/>
                  </a:cubicBezTo>
                  <a:cubicBezTo>
                    <a:pt x="589" y="336"/>
                    <a:pt x="589" y="336"/>
                    <a:pt x="589" y="336"/>
                  </a:cubicBezTo>
                  <a:cubicBezTo>
                    <a:pt x="589" y="328"/>
                    <a:pt x="587" y="320"/>
                    <a:pt x="589" y="312"/>
                  </a:cubicBezTo>
                  <a:cubicBezTo>
                    <a:pt x="592" y="312"/>
                    <a:pt x="596" y="312"/>
                    <a:pt x="599" y="312"/>
                  </a:cubicBezTo>
                  <a:cubicBezTo>
                    <a:pt x="599" y="320"/>
                    <a:pt x="600" y="326"/>
                    <a:pt x="599" y="333"/>
                  </a:cubicBezTo>
                  <a:cubicBezTo>
                    <a:pt x="606" y="333"/>
                    <a:pt x="606" y="333"/>
                    <a:pt x="606" y="333"/>
                  </a:cubicBezTo>
                  <a:cubicBezTo>
                    <a:pt x="605" y="327"/>
                    <a:pt x="605" y="319"/>
                    <a:pt x="605" y="312"/>
                  </a:cubicBezTo>
                  <a:cubicBezTo>
                    <a:pt x="608" y="312"/>
                    <a:pt x="612" y="311"/>
                    <a:pt x="614" y="312"/>
                  </a:cubicBezTo>
                  <a:cubicBezTo>
                    <a:pt x="614" y="320"/>
                    <a:pt x="614" y="328"/>
                    <a:pt x="614" y="335"/>
                  </a:cubicBezTo>
                  <a:cubicBezTo>
                    <a:pt x="617" y="335"/>
                    <a:pt x="618" y="334"/>
                    <a:pt x="621" y="335"/>
                  </a:cubicBezTo>
                  <a:cubicBezTo>
                    <a:pt x="621" y="324"/>
                    <a:pt x="620" y="314"/>
                    <a:pt x="620" y="303"/>
                  </a:cubicBezTo>
                  <a:cubicBezTo>
                    <a:pt x="607" y="304"/>
                    <a:pt x="594" y="304"/>
                    <a:pt x="582" y="304"/>
                  </a:cubicBezTo>
                  <a:close/>
                  <a:moveTo>
                    <a:pt x="27" y="293"/>
                  </a:moveTo>
                  <a:cubicBezTo>
                    <a:pt x="27" y="295"/>
                    <a:pt x="27" y="298"/>
                    <a:pt x="27" y="301"/>
                  </a:cubicBezTo>
                  <a:cubicBezTo>
                    <a:pt x="35" y="301"/>
                    <a:pt x="44" y="301"/>
                    <a:pt x="52" y="302"/>
                  </a:cubicBezTo>
                  <a:cubicBezTo>
                    <a:pt x="44" y="308"/>
                    <a:pt x="35" y="313"/>
                    <a:pt x="26" y="318"/>
                  </a:cubicBezTo>
                  <a:cubicBezTo>
                    <a:pt x="26" y="321"/>
                    <a:pt x="26" y="324"/>
                    <a:pt x="26" y="327"/>
                  </a:cubicBezTo>
                  <a:cubicBezTo>
                    <a:pt x="39" y="327"/>
                    <a:pt x="51" y="328"/>
                    <a:pt x="64" y="328"/>
                  </a:cubicBezTo>
                  <a:cubicBezTo>
                    <a:pt x="64" y="326"/>
                    <a:pt x="65" y="323"/>
                    <a:pt x="64" y="320"/>
                  </a:cubicBezTo>
                  <a:cubicBezTo>
                    <a:pt x="56" y="320"/>
                    <a:pt x="47" y="320"/>
                    <a:pt x="40" y="319"/>
                  </a:cubicBezTo>
                  <a:cubicBezTo>
                    <a:pt x="48" y="314"/>
                    <a:pt x="57" y="309"/>
                    <a:pt x="65" y="303"/>
                  </a:cubicBezTo>
                  <a:cubicBezTo>
                    <a:pt x="66" y="301"/>
                    <a:pt x="65" y="298"/>
                    <a:pt x="66" y="295"/>
                  </a:cubicBezTo>
                  <a:cubicBezTo>
                    <a:pt x="53" y="294"/>
                    <a:pt x="41" y="293"/>
                    <a:pt x="27" y="293"/>
                  </a:cubicBezTo>
                  <a:close/>
                  <a:moveTo>
                    <a:pt x="398" y="320"/>
                  </a:moveTo>
                  <a:cubicBezTo>
                    <a:pt x="397" y="321"/>
                    <a:pt x="398" y="321"/>
                    <a:pt x="398" y="321"/>
                  </a:cubicBezTo>
                  <a:cubicBezTo>
                    <a:pt x="398" y="322"/>
                    <a:pt x="398" y="321"/>
                    <a:pt x="398" y="321"/>
                  </a:cubicBezTo>
                  <a:cubicBezTo>
                    <a:pt x="398" y="321"/>
                    <a:pt x="398" y="321"/>
                    <a:pt x="398" y="320"/>
                  </a:cubicBezTo>
                  <a:cubicBezTo>
                    <a:pt x="395" y="314"/>
                    <a:pt x="391" y="309"/>
                    <a:pt x="389" y="303"/>
                  </a:cubicBezTo>
                  <a:cubicBezTo>
                    <a:pt x="389" y="301"/>
                    <a:pt x="389" y="298"/>
                    <a:pt x="388" y="295"/>
                  </a:cubicBezTo>
                  <a:cubicBezTo>
                    <a:pt x="388" y="294"/>
                    <a:pt x="388" y="293"/>
                    <a:pt x="388" y="292"/>
                  </a:cubicBezTo>
                  <a:cubicBezTo>
                    <a:pt x="388" y="291"/>
                    <a:pt x="388" y="289"/>
                    <a:pt x="386" y="289"/>
                  </a:cubicBezTo>
                  <a:cubicBezTo>
                    <a:pt x="386" y="294"/>
                    <a:pt x="386" y="301"/>
                    <a:pt x="386" y="306"/>
                  </a:cubicBezTo>
                  <a:cubicBezTo>
                    <a:pt x="390" y="311"/>
                    <a:pt x="393" y="316"/>
                    <a:pt x="398" y="320"/>
                  </a:cubicBezTo>
                  <a:close/>
                  <a:moveTo>
                    <a:pt x="426" y="272"/>
                  </a:moveTo>
                  <a:cubicBezTo>
                    <a:pt x="426" y="277"/>
                    <a:pt x="426" y="277"/>
                    <a:pt x="426" y="277"/>
                  </a:cubicBezTo>
                  <a:cubicBezTo>
                    <a:pt x="429" y="277"/>
                    <a:pt x="429" y="277"/>
                    <a:pt x="429" y="277"/>
                  </a:cubicBezTo>
                  <a:cubicBezTo>
                    <a:pt x="430" y="275"/>
                    <a:pt x="431" y="272"/>
                    <a:pt x="433" y="270"/>
                  </a:cubicBezTo>
                  <a:cubicBezTo>
                    <a:pt x="432" y="269"/>
                    <a:pt x="434" y="268"/>
                    <a:pt x="433" y="268"/>
                  </a:cubicBezTo>
                  <a:cubicBezTo>
                    <a:pt x="430" y="270"/>
                    <a:pt x="428" y="271"/>
                    <a:pt x="426" y="272"/>
                  </a:cubicBezTo>
                  <a:close/>
                  <a:moveTo>
                    <a:pt x="576" y="269"/>
                  </a:moveTo>
                  <a:cubicBezTo>
                    <a:pt x="578" y="279"/>
                    <a:pt x="580" y="289"/>
                    <a:pt x="581" y="298"/>
                  </a:cubicBezTo>
                  <a:cubicBezTo>
                    <a:pt x="583" y="298"/>
                    <a:pt x="586" y="298"/>
                    <a:pt x="587" y="297"/>
                  </a:cubicBezTo>
                  <a:cubicBezTo>
                    <a:pt x="586" y="290"/>
                    <a:pt x="585" y="283"/>
                    <a:pt x="584" y="276"/>
                  </a:cubicBezTo>
                  <a:cubicBezTo>
                    <a:pt x="594" y="275"/>
                    <a:pt x="605" y="273"/>
                    <a:pt x="615" y="271"/>
                  </a:cubicBezTo>
                  <a:cubicBezTo>
                    <a:pt x="615" y="268"/>
                    <a:pt x="614" y="266"/>
                    <a:pt x="614" y="263"/>
                  </a:cubicBezTo>
                  <a:cubicBezTo>
                    <a:pt x="601" y="265"/>
                    <a:pt x="589" y="267"/>
                    <a:pt x="576" y="269"/>
                  </a:cubicBezTo>
                  <a:close/>
                  <a:moveTo>
                    <a:pt x="423" y="258"/>
                  </a:moveTo>
                  <a:cubicBezTo>
                    <a:pt x="423" y="251"/>
                    <a:pt x="423" y="251"/>
                    <a:pt x="423" y="251"/>
                  </a:cubicBezTo>
                  <a:cubicBezTo>
                    <a:pt x="425" y="251"/>
                    <a:pt x="425" y="251"/>
                    <a:pt x="425" y="251"/>
                  </a:cubicBezTo>
                  <a:cubicBezTo>
                    <a:pt x="427" y="252"/>
                    <a:pt x="429" y="255"/>
                    <a:pt x="431" y="256"/>
                  </a:cubicBezTo>
                  <a:cubicBezTo>
                    <a:pt x="431" y="260"/>
                    <a:pt x="430" y="263"/>
                    <a:pt x="430" y="266"/>
                  </a:cubicBezTo>
                  <a:cubicBezTo>
                    <a:pt x="427" y="267"/>
                    <a:pt x="426" y="271"/>
                    <a:pt x="421" y="271"/>
                  </a:cubicBezTo>
                  <a:cubicBezTo>
                    <a:pt x="421" y="266"/>
                    <a:pt x="421" y="266"/>
                    <a:pt x="421" y="266"/>
                  </a:cubicBezTo>
                  <a:cubicBezTo>
                    <a:pt x="423" y="266"/>
                    <a:pt x="425" y="267"/>
                    <a:pt x="425" y="266"/>
                  </a:cubicBezTo>
                  <a:cubicBezTo>
                    <a:pt x="425" y="265"/>
                    <a:pt x="425" y="265"/>
                    <a:pt x="425" y="265"/>
                  </a:cubicBezTo>
                  <a:cubicBezTo>
                    <a:pt x="425" y="263"/>
                    <a:pt x="423" y="264"/>
                    <a:pt x="421" y="264"/>
                  </a:cubicBezTo>
                  <a:cubicBezTo>
                    <a:pt x="421" y="259"/>
                    <a:pt x="421" y="259"/>
                    <a:pt x="421" y="259"/>
                  </a:cubicBezTo>
                  <a:cubicBezTo>
                    <a:pt x="421" y="258"/>
                    <a:pt x="422" y="258"/>
                    <a:pt x="423" y="258"/>
                  </a:cubicBezTo>
                  <a:close/>
                  <a:moveTo>
                    <a:pt x="34" y="258"/>
                  </a:moveTo>
                  <a:cubicBezTo>
                    <a:pt x="33" y="261"/>
                    <a:pt x="32" y="264"/>
                    <a:pt x="32" y="266"/>
                  </a:cubicBezTo>
                  <a:cubicBezTo>
                    <a:pt x="37" y="270"/>
                    <a:pt x="42" y="273"/>
                    <a:pt x="47" y="277"/>
                  </a:cubicBezTo>
                  <a:cubicBezTo>
                    <a:pt x="52" y="281"/>
                    <a:pt x="57" y="285"/>
                    <a:pt x="62" y="288"/>
                  </a:cubicBezTo>
                  <a:cubicBezTo>
                    <a:pt x="62" y="289"/>
                    <a:pt x="64" y="289"/>
                    <a:pt x="64" y="290"/>
                  </a:cubicBezTo>
                  <a:cubicBezTo>
                    <a:pt x="65" y="290"/>
                    <a:pt x="65" y="290"/>
                    <a:pt x="65" y="290"/>
                  </a:cubicBezTo>
                  <a:cubicBezTo>
                    <a:pt x="66" y="290"/>
                    <a:pt x="66" y="291"/>
                    <a:pt x="66" y="290"/>
                  </a:cubicBezTo>
                  <a:cubicBezTo>
                    <a:pt x="67" y="287"/>
                    <a:pt x="67" y="284"/>
                    <a:pt x="68" y="282"/>
                  </a:cubicBezTo>
                  <a:cubicBezTo>
                    <a:pt x="65" y="280"/>
                    <a:pt x="62" y="278"/>
                    <a:pt x="60" y="276"/>
                  </a:cubicBezTo>
                  <a:cubicBezTo>
                    <a:pt x="61" y="274"/>
                    <a:pt x="61" y="271"/>
                    <a:pt x="62" y="268"/>
                  </a:cubicBezTo>
                  <a:cubicBezTo>
                    <a:pt x="62" y="265"/>
                    <a:pt x="63" y="262"/>
                    <a:pt x="64" y="260"/>
                  </a:cubicBezTo>
                  <a:cubicBezTo>
                    <a:pt x="67" y="259"/>
                    <a:pt x="70" y="259"/>
                    <a:pt x="73" y="258"/>
                  </a:cubicBezTo>
                  <a:cubicBezTo>
                    <a:pt x="74" y="255"/>
                    <a:pt x="74" y="252"/>
                    <a:pt x="75" y="249"/>
                  </a:cubicBezTo>
                  <a:cubicBezTo>
                    <a:pt x="61" y="252"/>
                    <a:pt x="47" y="255"/>
                    <a:pt x="34" y="258"/>
                  </a:cubicBezTo>
                  <a:close/>
                  <a:moveTo>
                    <a:pt x="281" y="242"/>
                  </a:moveTo>
                  <a:cubicBezTo>
                    <a:pt x="282" y="244"/>
                    <a:pt x="279" y="242"/>
                    <a:pt x="280" y="245"/>
                  </a:cubicBezTo>
                  <a:cubicBezTo>
                    <a:pt x="280" y="308"/>
                    <a:pt x="280" y="308"/>
                    <a:pt x="280" y="308"/>
                  </a:cubicBezTo>
                  <a:cubicBezTo>
                    <a:pt x="280" y="309"/>
                    <a:pt x="279" y="311"/>
                    <a:pt x="281" y="311"/>
                  </a:cubicBezTo>
                  <a:cubicBezTo>
                    <a:pt x="283" y="311"/>
                    <a:pt x="283" y="310"/>
                    <a:pt x="283" y="309"/>
                  </a:cubicBezTo>
                  <a:cubicBezTo>
                    <a:pt x="283" y="306"/>
                    <a:pt x="283" y="306"/>
                    <a:pt x="283" y="306"/>
                  </a:cubicBezTo>
                  <a:cubicBezTo>
                    <a:pt x="283" y="218"/>
                    <a:pt x="283" y="218"/>
                    <a:pt x="283" y="218"/>
                  </a:cubicBezTo>
                  <a:cubicBezTo>
                    <a:pt x="282" y="218"/>
                    <a:pt x="282" y="218"/>
                    <a:pt x="282" y="218"/>
                  </a:cubicBezTo>
                  <a:cubicBezTo>
                    <a:pt x="281" y="225"/>
                    <a:pt x="282" y="234"/>
                    <a:pt x="281" y="242"/>
                  </a:cubicBezTo>
                  <a:close/>
                  <a:moveTo>
                    <a:pt x="567" y="239"/>
                  </a:moveTo>
                  <a:cubicBezTo>
                    <a:pt x="568" y="242"/>
                    <a:pt x="570" y="248"/>
                    <a:pt x="571" y="249"/>
                  </a:cubicBezTo>
                  <a:cubicBezTo>
                    <a:pt x="571" y="250"/>
                    <a:pt x="572" y="250"/>
                    <a:pt x="572" y="250"/>
                  </a:cubicBezTo>
                  <a:cubicBezTo>
                    <a:pt x="574" y="252"/>
                    <a:pt x="576" y="255"/>
                    <a:pt x="579" y="257"/>
                  </a:cubicBezTo>
                  <a:cubicBezTo>
                    <a:pt x="588" y="261"/>
                    <a:pt x="601" y="255"/>
                    <a:pt x="604" y="250"/>
                  </a:cubicBezTo>
                  <a:cubicBezTo>
                    <a:pt x="605" y="249"/>
                    <a:pt x="605" y="248"/>
                    <a:pt x="606" y="247"/>
                  </a:cubicBezTo>
                  <a:cubicBezTo>
                    <a:pt x="607" y="245"/>
                    <a:pt x="607" y="245"/>
                    <a:pt x="608" y="242"/>
                  </a:cubicBezTo>
                  <a:cubicBezTo>
                    <a:pt x="608" y="236"/>
                    <a:pt x="607" y="232"/>
                    <a:pt x="605" y="228"/>
                  </a:cubicBezTo>
                  <a:cubicBezTo>
                    <a:pt x="602" y="223"/>
                    <a:pt x="600" y="220"/>
                    <a:pt x="595" y="218"/>
                  </a:cubicBezTo>
                  <a:cubicBezTo>
                    <a:pt x="593" y="217"/>
                    <a:pt x="587" y="216"/>
                    <a:pt x="584" y="217"/>
                  </a:cubicBezTo>
                  <a:cubicBezTo>
                    <a:pt x="574" y="219"/>
                    <a:pt x="566" y="226"/>
                    <a:pt x="567" y="239"/>
                  </a:cubicBezTo>
                  <a:close/>
                  <a:moveTo>
                    <a:pt x="268" y="216"/>
                  </a:moveTo>
                  <a:cubicBezTo>
                    <a:pt x="268" y="217"/>
                    <a:pt x="268" y="217"/>
                    <a:pt x="268" y="217"/>
                  </a:cubicBezTo>
                  <a:cubicBezTo>
                    <a:pt x="266" y="223"/>
                    <a:pt x="263" y="229"/>
                    <a:pt x="261" y="234"/>
                  </a:cubicBezTo>
                  <a:cubicBezTo>
                    <a:pt x="260" y="235"/>
                    <a:pt x="260" y="235"/>
                    <a:pt x="260" y="236"/>
                  </a:cubicBezTo>
                  <a:cubicBezTo>
                    <a:pt x="259" y="237"/>
                    <a:pt x="259" y="238"/>
                    <a:pt x="260" y="239"/>
                  </a:cubicBezTo>
                  <a:cubicBezTo>
                    <a:pt x="261" y="239"/>
                    <a:pt x="261" y="237"/>
                    <a:pt x="261" y="236"/>
                  </a:cubicBezTo>
                  <a:cubicBezTo>
                    <a:pt x="262" y="234"/>
                    <a:pt x="263" y="232"/>
                    <a:pt x="264" y="231"/>
                  </a:cubicBezTo>
                  <a:cubicBezTo>
                    <a:pt x="264" y="230"/>
                    <a:pt x="265" y="229"/>
                    <a:pt x="265" y="228"/>
                  </a:cubicBezTo>
                  <a:cubicBezTo>
                    <a:pt x="266" y="226"/>
                    <a:pt x="267" y="224"/>
                    <a:pt x="267" y="223"/>
                  </a:cubicBezTo>
                  <a:cubicBezTo>
                    <a:pt x="267" y="223"/>
                    <a:pt x="267" y="222"/>
                    <a:pt x="267" y="221"/>
                  </a:cubicBezTo>
                  <a:cubicBezTo>
                    <a:pt x="268" y="221"/>
                    <a:pt x="269" y="220"/>
                    <a:pt x="269" y="219"/>
                  </a:cubicBezTo>
                  <a:cubicBezTo>
                    <a:pt x="269" y="218"/>
                    <a:pt x="270" y="216"/>
                    <a:pt x="269" y="216"/>
                  </a:cubicBezTo>
                  <a:cubicBezTo>
                    <a:pt x="268" y="216"/>
                    <a:pt x="268" y="216"/>
                    <a:pt x="268" y="216"/>
                  </a:cubicBezTo>
                  <a:close/>
                  <a:moveTo>
                    <a:pt x="296" y="219"/>
                  </a:moveTo>
                  <a:cubicBezTo>
                    <a:pt x="297" y="222"/>
                    <a:pt x="299" y="225"/>
                    <a:pt x="300" y="228"/>
                  </a:cubicBezTo>
                  <a:cubicBezTo>
                    <a:pt x="300" y="230"/>
                    <a:pt x="300" y="231"/>
                    <a:pt x="301" y="232"/>
                  </a:cubicBezTo>
                  <a:cubicBezTo>
                    <a:pt x="301" y="233"/>
                    <a:pt x="302" y="234"/>
                    <a:pt x="302" y="234"/>
                  </a:cubicBezTo>
                  <a:cubicBezTo>
                    <a:pt x="303" y="235"/>
                    <a:pt x="302" y="237"/>
                    <a:pt x="304" y="237"/>
                  </a:cubicBezTo>
                  <a:cubicBezTo>
                    <a:pt x="302" y="230"/>
                    <a:pt x="299" y="224"/>
                    <a:pt x="297" y="216"/>
                  </a:cubicBezTo>
                  <a:cubicBezTo>
                    <a:pt x="296" y="216"/>
                    <a:pt x="297" y="214"/>
                    <a:pt x="295" y="213"/>
                  </a:cubicBezTo>
                  <a:cubicBezTo>
                    <a:pt x="293" y="215"/>
                    <a:pt x="295" y="218"/>
                    <a:pt x="296" y="219"/>
                  </a:cubicBezTo>
                  <a:close/>
                  <a:moveTo>
                    <a:pt x="257" y="209"/>
                  </a:moveTo>
                  <a:cubicBezTo>
                    <a:pt x="252" y="215"/>
                    <a:pt x="246" y="221"/>
                    <a:pt x="240" y="226"/>
                  </a:cubicBezTo>
                  <a:cubicBezTo>
                    <a:pt x="242" y="226"/>
                    <a:pt x="243" y="224"/>
                    <a:pt x="245" y="223"/>
                  </a:cubicBezTo>
                  <a:cubicBezTo>
                    <a:pt x="246" y="221"/>
                    <a:pt x="248" y="220"/>
                    <a:pt x="249" y="218"/>
                  </a:cubicBezTo>
                  <a:cubicBezTo>
                    <a:pt x="252" y="217"/>
                    <a:pt x="254" y="215"/>
                    <a:pt x="256" y="212"/>
                  </a:cubicBezTo>
                  <a:cubicBezTo>
                    <a:pt x="257" y="212"/>
                    <a:pt x="258" y="211"/>
                    <a:pt x="259" y="210"/>
                  </a:cubicBezTo>
                  <a:cubicBezTo>
                    <a:pt x="258" y="210"/>
                    <a:pt x="258" y="209"/>
                    <a:pt x="257" y="209"/>
                  </a:cubicBezTo>
                  <a:close/>
                  <a:moveTo>
                    <a:pt x="321" y="221"/>
                  </a:moveTo>
                  <a:cubicBezTo>
                    <a:pt x="320" y="220"/>
                    <a:pt x="319" y="220"/>
                    <a:pt x="319" y="219"/>
                  </a:cubicBezTo>
                  <a:cubicBezTo>
                    <a:pt x="315" y="215"/>
                    <a:pt x="311" y="211"/>
                    <a:pt x="307" y="207"/>
                  </a:cubicBezTo>
                  <a:cubicBezTo>
                    <a:pt x="307" y="207"/>
                    <a:pt x="305" y="205"/>
                    <a:pt x="305" y="206"/>
                  </a:cubicBezTo>
                  <a:cubicBezTo>
                    <a:pt x="305" y="206"/>
                    <a:pt x="305" y="207"/>
                    <a:pt x="305" y="207"/>
                  </a:cubicBezTo>
                  <a:cubicBezTo>
                    <a:pt x="307" y="210"/>
                    <a:pt x="311" y="212"/>
                    <a:pt x="313" y="215"/>
                  </a:cubicBezTo>
                  <a:cubicBezTo>
                    <a:pt x="315" y="217"/>
                    <a:pt x="316" y="218"/>
                    <a:pt x="318" y="220"/>
                  </a:cubicBezTo>
                  <a:cubicBezTo>
                    <a:pt x="319" y="221"/>
                    <a:pt x="320" y="223"/>
                    <a:pt x="322" y="224"/>
                  </a:cubicBezTo>
                  <a:cubicBezTo>
                    <a:pt x="323" y="223"/>
                    <a:pt x="322" y="222"/>
                    <a:pt x="321" y="221"/>
                  </a:cubicBezTo>
                  <a:close/>
                  <a:moveTo>
                    <a:pt x="238" y="204"/>
                  </a:moveTo>
                  <a:cubicBezTo>
                    <a:pt x="235" y="205"/>
                    <a:pt x="232" y="206"/>
                    <a:pt x="230" y="207"/>
                  </a:cubicBezTo>
                  <a:cubicBezTo>
                    <a:pt x="229" y="208"/>
                    <a:pt x="228" y="208"/>
                    <a:pt x="228" y="209"/>
                  </a:cubicBezTo>
                  <a:cubicBezTo>
                    <a:pt x="229" y="209"/>
                    <a:pt x="231" y="208"/>
                    <a:pt x="232" y="208"/>
                  </a:cubicBezTo>
                  <a:cubicBezTo>
                    <a:pt x="237" y="206"/>
                    <a:pt x="242" y="204"/>
                    <a:pt x="246" y="202"/>
                  </a:cubicBezTo>
                  <a:cubicBezTo>
                    <a:pt x="247" y="201"/>
                    <a:pt x="249" y="201"/>
                    <a:pt x="249" y="200"/>
                  </a:cubicBezTo>
                  <a:cubicBezTo>
                    <a:pt x="245" y="201"/>
                    <a:pt x="241" y="203"/>
                    <a:pt x="238" y="204"/>
                  </a:cubicBezTo>
                  <a:close/>
                  <a:moveTo>
                    <a:pt x="312" y="195"/>
                  </a:moveTo>
                  <a:cubicBezTo>
                    <a:pt x="311" y="195"/>
                    <a:pt x="311" y="195"/>
                    <a:pt x="311" y="194"/>
                  </a:cubicBezTo>
                  <a:cubicBezTo>
                    <a:pt x="319" y="197"/>
                    <a:pt x="326" y="200"/>
                    <a:pt x="334" y="204"/>
                  </a:cubicBezTo>
                  <a:cubicBezTo>
                    <a:pt x="333" y="205"/>
                    <a:pt x="331" y="204"/>
                    <a:pt x="331" y="204"/>
                  </a:cubicBezTo>
                  <a:cubicBezTo>
                    <a:pt x="329" y="203"/>
                    <a:pt x="328" y="202"/>
                    <a:pt x="327" y="202"/>
                  </a:cubicBezTo>
                  <a:cubicBezTo>
                    <a:pt x="326" y="201"/>
                    <a:pt x="325" y="201"/>
                    <a:pt x="324" y="201"/>
                  </a:cubicBezTo>
                  <a:cubicBezTo>
                    <a:pt x="324" y="200"/>
                    <a:pt x="323" y="200"/>
                    <a:pt x="323" y="200"/>
                  </a:cubicBezTo>
                  <a:cubicBezTo>
                    <a:pt x="321" y="199"/>
                    <a:pt x="319" y="198"/>
                    <a:pt x="317" y="198"/>
                  </a:cubicBezTo>
                  <a:cubicBezTo>
                    <a:pt x="315" y="197"/>
                    <a:pt x="313" y="196"/>
                    <a:pt x="312" y="195"/>
                  </a:cubicBezTo>
                  <a:close/>
                  <a:moveTo>
                    <a:pt x="187" y="193"/>
                  </a:moveTo>
                  <a:cubicBezTo>
                    <a:pt x="187" y="309"/>
                    <a:pt x="187" y="309"/>
                    <a:pt x="187" y="309"/>
                  </a:cubicBezTo>
                  <a:cubicBezTo>
                    <a:pt x="187" y="311"/>
                    <a:pt x="189" y="311"/>
                    <a:pt x="190" y="311"/>
                  </a:cubicBezTo>
                  <a:cubicBezTo>
                    <a:pt x="192" y="310"/>
                    <a:pt x="191" y="311"/>
                    <a:pt x="191" y="309"/>
                  </a:cubicBezTo>
                  <a:cubicBezTo>
                    <a:pt x="191" y="307"/>
                    <a:pt x="191" y="306"/>
                    <a:pt x="191" y="305"/>
                  </a:cubicBezTo>
                  <a:cubicBezTo>
                    <a:pt x="191" y="297"/>
                    <a:pt x="191" y="289"/>
                    <a:pt x="191" y="283"/>
                  </a:cubicBezTo>
                  <a:cubicBezTo>
                    <a:pt x="191" y="195"/>
                    <a:pt x="191" y="195"/>
                    <a:pt x="191" y="195"/>
                  </a:cubicBezTo>
                  <a:cubicBezTo>
                    <a:pt x="191" y="194"/>
                    <a:pt x="192" y="192"/>
                    <a:pt x="190" y="192"/>
                  </a:cubicBezTo>
                  <a:cubicBezTo>
                    <a:pt x="188" y="192"/>
                    <a:pt x="188" y="192"/>
                    <a:pt x="188" y="192"/>
                  </a:cubicBezTo>
                  <a:cubicBezTo>
                    <a:pt x="187" y="192"/>
                    <a:pt x="187" y="193"/>
                    <a:pt x="187" y="193"/>
                  </a:cubicBezTo>
                  <a:close/>
                  <a:moveTo>
                    <a:pt x="243" y="191"/>
                  </a:moveTo>
                  <a:cubicBezTo>
                    <a:pt x="244" y="191"/>
                    <a:pt x="245" y="190"/>
                    <a:pt x="246" y="191"/>
                  </a:cubicBezTo>
                  <a:cubicBezTo>
                    <a:pt x="245" y="194"/>
                    <a:pt x="242" y="194"/>
                    <a:pt x="241" y="194"/>
                  </a:cubicBezTo>
                  <a:cubicBezTo>
                    <a:pt x="240" y="195"/>
                    <a:pt x="239" y="196"/>
                    <a:pt x="238" y="196"/>
                  </a:cubicBezTo>
                  <a:cubicBezTo>
                    <a:pt x="237" y="196"/>
                    <a:pt x="236" y="196"/>
                    <a:pt x="235" y="197"/>
                  </a:cubicBezTo>
                  <a:cubicBezTo>
                    <a:pt x="234" y="197"/>
                    <a:pt x="233" y="198"/>
                    <a:pt x="232" y="198"/>
                  </a:cubicBezTo>
                  <a:cubicBezTo>
                    <a:pt x="232" y="199"/>
                    <a:pt x="231" y="198"/>
                    <a:pt x="231" y="199"/>
                  </a:cubicBezTo>
                  <a:cubicBezTo>
                    <a:pt x="230" y="199"/>
                    <a:pt x="229" y="199"/>
                    <a:pt x="228" y="200"/>
                  </a:cubicBezTo>
                  <a:cubicBezTo>
                    <a:pt x="227" y="200"/>
                    <a:pt x="225" y="201"/>
                    <a:pt x="224" y="202"/>
                  </a:cubicBezTo>
                  <a:cubicBezTo>
                    <a:pt x="222" y="202"/>
                    <a:pt x="223" y="200"/>
                    <a:pt x="222" y="201"/>
                  </a:cubicBezTo>
                  <a:cubicBezTo>
                    <a:pt x="221" y="201"/>
                    <a:pt x="220" y="201"/>
                    <a:pt x="220" y="202"/>
                  </a:cubicBezTo>
                  <a:cubicBezTo>
                    <a:pt x="219" y="202"/>
                    <a:pt x="220" y="203"/>
                    <a:pt x="220" y="203"/>
                  </a:cubicBezTo>
                  <a:cubicBezTo>
                    <a:pt x="221" y="207"/>
                    <a:pt x="223" y="211"/>
                    <a:pt x="225" y="215"/>
                  </a:cubicBezTo>
                  <a:cubicBezTo>
                    <a:pt x="226" y="215"/>
                    <a:pt x="226" y="214"/>
                    <a:pt x="227" y="214"/>
                  </a:cubicBezTo>
                  <a:cubicBezTo>
                    <a:pt x="228" y="214"/>
                    <a:pt x="227" y="212"/>
                    <a:pt x="228" y="212"/>
                  </a:cubicBezTo>
                  <a:cubicBezTo>
                    <a:pt x="233" y="210"/>
                    <a:pt x="239" y="208"/>
                    <a:pt x="245" y="205"/>
                  </a:cubicBezTo>
                  <a:cubicBezTo>
                    <a:pt x="247" y="204"/>
                    <a:pt x="249" y="203"/>
                    <a:pt x="251" y="204"/>
                  </a:cubicBezTo>
                  <a:cubicBezTo>
                    <a:pt x="251" y="205"/>
                    <a:pt x="251" y="205"/>
                    <a:pt x="250" y="206"/>
                  </a:cubicBezTo>
                  <a:cubicBezTo>
                    <a:pt x="247" y="210"/>
                    <a:pt x="243" y="214"/>
                    <a:pt x="239" y="217"/>
                  </a:cubicBezTo>
                  <a:cubicBezTo>
                    <a:pt x="237" y="219"/>
                    <a:pt x="236" y="220"/>
                    <a:pt x="235" y="221"/>
                  </a:cubicBezTo>
                  <a:cubicBezTo>
                    <a:pt x="234" y="222"/>
                    <a:pt x="235" y="222"/>
                    <a:pt x="233" y="221"/>
                  </a:cubicBezTo>
                  <a:cubicBezTo>
                    <a:pt x="233" y="222"/>
                    <a:pt x="232" y="223"/>
                    <a:pt x="231" y="223"/>
                  </a:cubicBezTo>
                  <a:cubicBezTo>
                    <a:pt x="232" y="225"/>
                    <a:pt x="234" y="227"/>
                    <a:pt x="236" y="228"/>
                  </a:cubicBezTo>
                  <a:cubicBezTo>
                    <a:pt x="238" y="230"/>
                    <a:pt x="239" y="232"/>
                    <a:pt x="241" y="233"/>
                  </a:cubicBezTo>
                  <a:cubicBezTo>
                    <a:pt x="242" y="233"/>
                    <a:pt x="243" y="232"/>
                    <a:pt x="244" y="231"/>
                  </a:cubicBezTo>
                  <a:cubicBezTo>
                    <a:pt x="244" y="230"/>
                    <a:pt x="242" y="230"/>
                    <a:pt x="243" y="229"/>
                  </a:cubicBezTo>
                  <a:cubicBezTo>
                    <a:pt x="247" y="225"/>
                    <a:pt x="252" y="221"/>
                    <a:pt x="256" y="217"/>
                  </a:cubicBezTo>
                  <a:cubicBezTo>
                    <a:pt x="256" y="216"/>
                    <a:pt x="257" y="215"/>
                    <a:pt x="258" y="214"/>
                  </a:cubicBezTo>
                  <a:cubicBezTo>
                    <a:pt x="258" y="214"/>
                    <a:pt x="259" y="212"/>
                    <a:pt x="260" y="214"/>
                  </a:cubicBezTo>
                  <a:cubicBezTo>
                    <a:pt x="262" y="214"/>
                    <a:pt x="261" y="215"/>
                    <a:pt x="260" y="216"/>
                  </a:cubicBezTo>
                  <a:cubicBezTo>
                    <a:pt x="258" y="223"/>
                    <a:pt x="255" y="229"/>
                    <a:pt x="253" y="236"/>
                  </a:cubicBezTo>
                  <a:cubicBezTo>
                    <a:pt x="252" y="237"/>
                    <a:pt x="251" y="235"/>
                    <a:pt x="251" y="236"/>
                  </a:cubicBezTo>
                  <a:cubicBezTo>
                    <a:pt x="250" y="237"/>
                    <a:pt x="250" y="238"/>
                    <a:pt x="250" y="239"/>
                  </a:cubicBezTo>
                  <a:cubicBezTo>
                    <a:pt x="250" y="240"/>
                    <a:pt x="252" y="240"/>
                    <a:pt x="253" y="241"/>
                  </a:cubicBezTo>
                  <a:cubicBezTo>
                    <a:pt x="256" y="242"/>
                    <a:pt x="259" y="243"/>
                    <a:pt x="263" y="244"/>
                  </a:cubicBezTo>
                  <a:cubicBezTo>
                    <a:pt x="264" y="244"/>
                    <a:pt x="264" y="243"/>
                    <a:pt x="264" y="242"/>
                  </a:cubicBezTo>
                  <a:cubicBezTo>
                    <a:pt x="265" y="241"/>
                    <a:pt x="262" y="241"/>
                    <a:pt x="263" y="241"/>
                  </a:cubicBezTo>
                  <a:cubicBezTo>
                    <a:pt x="264" y="238"/>
                    <a:pt x="266" y="235"/>
                    <a:pt x="267" y="232"/>
                  </a:cubicBezTo>
                  <a:cubicBezTo>
                    <a:pt x="267" y="231"/>
                    <a:pt x="267" y="230"/>
                    <a:pt x="267" y="229"/>
                  </a:cubicBezTo>
                  <a:cubicBezTo>
                    <a:pt x="268" y="228"/>
                    <a:pt x="268" y="227"/>
                    <a:pt x="269" y="226"/>
                  </a:cubicBezTo>
                  <a:cubicBezTo>
                    <a:pt x="269" y="225"/>
                    <a:pt x="269" y="224"/>
                    <a:pt x="270" y="223"/>
                  </a:cubicBezTo>
                  <a:cubicBezTo>
                    <a:pt x="270" y="222"/>
                    <a:pt x="271" y="221"/>
                    <a:pt x="271" y="220"/>
                  </a:cubicBezTo>
                  <a:cubicBezTo>
                    <a:pt x="271" y="220"/>
                    <a:pt x="271" y="219"/>
                    <a:pt x="272" y="219"/>
                  </a:cubicBezTo>
                  <a:cubicBezTo>
                    <a:pt x="272" y="219"/>
                    <a:pt x="273" y="219"/>
                    <a:pt x="273" y="219"/>
                  </a:cubicBezTo>
                  <a:cubicBezTo>
                    <a:pt x="275" y="220"/>
                    <a:pt x="274" y="222"/>
                    <a:pt x="274" y="224"/>
                  </a:cubicBezTo>
                  <a:cubicBezTo>
                    <a:pt x="274" y="230"/>
                    <a:pt x="274" y="236"/>
                    <a:pt x="274" y="242"/>
                  </a:cubicBezTo>
                  <a:cubicBezTo>
                    <a:pt x="275" y="244"/>
                    <a:pt x="273" y="242"/>
                    <a:pt x="273" y="243"/>
                  </a:cubicBezTo>
                  <a:cubicBezTo>
                    <a:pt x="273" y="311"/>
                    <a:pt x="273" y="311"/>
                    <a:pt x="273" y="311"/>
                  </a:cubicBezTo>
                  <a:cubicBezTo>
                    <a:pt x="196" y="311"/>
                    <a:pt x="196" y="311"/>
                    <a:pt x="196" y="311"/>
                  </a:cubicBezTo>
                  <a:cubicBezTo>
                    <a:pt x="196" y="192"/>
                    <a:pt x="196" y="192"/>
                    <a:pt x="196" y="192"/>
                  </a:cubicBezTo>
                  <a:cubicBezTo>
                    <a:pt x="203" y="192"/>
                    <a:pt x="211" y="193"/>
                    <a:pt x="218" y="192"/>
                  </a:cubicBezTo>
                  <a:cubicBezTo>
                    <a:pt x="218" y="191"/>
                    <a:pt x="218" y="191"/>
                    <a:pt x="218" y="191"/>
                  </a:cubicBezTo>
                  <a:cubicBezTo>
                    <a:pt x="226" y="191"/>
                    <a:pt x="235" y="190"/>
                    <a:pt x="243" y="191"/>
                  </a:cubicBezTo>
                  <a:close/>
                  <a:moveTo>
                    <a:pt x="457" y="191"/>
                  </a:moveTo>
                  <a:cubicBezTo>
                    <a:pt x="455" y="196"/>
                    <a:pt x="453" y="201"/>
                    <a:pt x="451" y="207"/>
                  </a:cubicBezTo>
                  <a:cubicBezTo>
                    <a:pt x="450" y="209"/>
                    <a:pt x="450" y="212"/>
                    <a:pt x="449" y="215"/>
                  </a:cubicBezTo>
                  <a:cubicBezTo>
                    <a:pt x="448" y="218"/>
                    <a:pt x="446" y="220"/>
                    <a:pt x="447" y="223"/>
                  </a:cubicBezTo>
                  <a:cubicBezTo>
                    <a:pt x="448" y="223"/>
                    <a:pt x="448" y="221"/>
                    <a:pt x="449" y="220"/>
                  </a:cubicBezTo>
                  <a:cubicBezTo>
                    <a:pt x="452" y="210"/>
                    <a:pt x="455" y="200"/>
                    <a:pt x="458" y="190"/>
                  </a:cubicBezTo>
                  <a:cubicBezTo>
                    <a:pt x="457" y="190"/>
                    <a:pt x="457" y="190"/>
                    <a:pt x="457" y="190"/>
                  </a:cubicBezTo>
                  <a:cubicBezTo>
                    <a:pt x="457" y="190"/>
                    <a:pt x="457" y="190"/>
                    <a:pt x="457" y="191"/>
                  </a:cubicBezTo>
                  <a:close/>
                  <a:moveTo>
                    <a:pt x="468" y="190"/>
                  </a:moveTo>
                  <a:cubicBezTo>
                    <a:pt x="468" y="226"/>
                    <a:pt x="468" y="226"/>
                    <a:pt x="468" y="226"/>
                  </a:cubicBezTo>
                  <a:cubicBezTo>
                    <a:pt x="468" y="229"/>
                    <a:pt x="468" y="229"/>
                    <a:pt x="468" y="229"/>
                  </a:cubicBezTo>
                  <a:cubicBezTo>
                    <a:pt x="468" y="230"/>
                    <a:pt x="468" y="231"/>
                    <a:pt x="469" y="231"/>
                  </a:cubicBezTo>
                  <a:cubicBezTo>
                    <a:pt x="470" y="231"/>
                    <a:pt x="470" y="230"/>
                    <a:pt x="470" y="229"/>
                  </a:cubicBezTo>
                  <a:cubicBezTo>
                    <a:pt x="470" y="228"/>
                    <a:pt x="470" y="227"/>
                    <a:pt x="470" y="226"/>
                  </a:cubicBezTo>
                  <a:cubicBezTo>
                    <a:pt x="470" y="215"/>
                    <a:pt x="470" y="202"/>
                    <a:pt x="470" y="191"/>
                  </a:cubicBezTo>
                  <a:cubicBezTo>
                    <a:pt x="470" y="191"/>
                    <a:pt x="470" y="189"/>
                    <a:pt x="469" y="189"/>
                  </a:cubicBezTo>
                  <a:cubicBezTo>
                    <a:pt x="468" y="189"/>
                    <a:pt x="468" y="189"/>
                    <a:pt x="468" y="189"/>
                  </a:cubicBezTo>
                  <a:cubicBezTo>
                    <a:pt x="468" y="190"/>
                    <a:pt x="468" y="190"/>
                    <a:pt x="468" y="190"/>
                  </a:cubicBezTo>
                  <a:close/>
                  <a:moveTo>
                    <a:pt x="444" y="187"/>
                  </a:moveTo>
                  <a:cubicBezTo>
                    <a:pt x="443" y="188"/>
                    <a:pt x="442" y="189"/>
                    <a:pt x="441" y="190"/>
                  </a:cubicBezTo>
                  <a:cubicBezTo>
                    <a:pt x="440" y="191"/>
                    <a:pt x="440" y="193"/>
                    <a:pt x="439" y="194"/>
                  </a:cubicBezTo>
                  <a:cubicBezTo>
                    <a:pt x="438" y="195"/>
                    <a:pt x="437" y="196"/>
                    <a:pt x="436" y="197"/>
                  </a:cubicBezTo>
                  <a:cubicBezTo>
                    <a:pt x="436" y="198"/>
                    <a:pt x="435" y="199"/>
                    <a:pt x="434" y="200"/>
                  </a:cubicBezTo>
                  <a:cubicBezTo>
                    <a:pt x="432" y="202"/>
                    <a:pt x="430" y="205"/>
                    <a:pt x="428" y="207"/>
                  </a:cubicBezTo>
                  <a:cubicBezTo>
                    <a:pt x="428" y="208"/>
                    <a:pt x="427" y="209"/>
                    <a:pt x="426" y="210"/>
                  </a:cubicBezTo>
                  <a:cubicBezTo>
                    <a:pt x="426" y="210"/>
                    <a:pt x="425" y="211"/>
                    <a:pt x="425" y="211"/>
                  </a:cubicBezTo>
                  <a:cubicBezTo>
                    <a:pt x="425" y="212"/>
                    <a:pt x="426" y="212"/>
                    <a:pt x="426" y="213"/>
                  </a:cubicBezTo>
                  <a:cubicBezTo>
                    <a:pt x="428" y="213"/>
                    <a:pt x="428" y="212"/>
                    <a:pt x="429" y="211"/>
                  </a:cubicBezTo>
                  <a:cubicBezTo>
                    <a:pt x="429" y="210"/>
                    <a:pt x="430" y="209"/>
                    <a:pt x="430" y="209"/>
                  </a:cubicBezTo>
                  <a:cubicBezTo>
                    <a:pt x="431" y="208"/>
                    <a:pt x="431" y="207"/>
                    <a:pt x="432" y="207"/>
                  </a:cubicBezTo>
                  <a:cubicBezTo>
                    <a:pt x="432" y="206"/>
                    <a:pt x="432" y="206"/>
                    <a:pt x="433" y="206"/>
                  </a:cubicBezTo>
                  <a:cubicBezTo>
                    <a:pt x="433" y="206"/>
                    <a:pt x="433" y="205"/>
                    <a:pt x="433" y="205"/>
                  </a:cubicBezTo>
                  <a:cubicBezTo>
                    <a:pt x="437" y="200"/>
                    <a:pt x="440" y="196"/>
                    <a:pt x="444" y="191"/>
                  </a:cubicBezTo>
                  <a:cubicBezTo>
                    <a:pt x="444" y="190"/>
                    <a:pt x="446" y="190"/>
                    <a:pt x="446" y="188"/>
                  </a:cubicBezTo>
                  <a:cubicBezTo>
                    <a:pt x="446" y="187"/>
                    <a:pt x="445" y="187"/>
                    <a:pt x="445" y="186"/>
                  </a:cubicBezTo>
                  <a:cubicBezTo>
                    <a:pt x="445" y="187"/>
                    <a:pt x="444" y="187"/>
                    <a:pt x="444" y="187"/>
                  </a:cubicBezTo>
                  <a:close/>
                  <a:moveTo>
                    <a:pt x="60" y="223"/>
                  </a:moveTo>
                  <a:cubicBezTo>
                    <a:pt x="66" y="224"/>
                    <a:pt x="72" y="230"/>
                    <a:pt x="79" y="228"/>
                  </a:cubicBezTo>
                  <a:cubicBezTo>
                    <a:pt x="80" y="227"/>
                    <a:pt x="81" y="226"/>
                    <a:pt x="81" y="226"/>
                  </a:cubicBezTo>
                  <a:cubicBezTo>
                    <a:pt x="81" y="226"/>
                    <a:pt x="82" y="226"/>
                    <a:pt x="82" y="226"/>
                  </a:cubicBezTo>
                  <a:cubicBezTo>
                    <a:pt x="82" y="226"/>
                    <a:pt x="83" y="225"/>
                    <a:pt x="83" y="225"/>
                  </a:cubicBezTo>
                  <a:cubicBezTo>
                    <a:pt x="83" y="225"/>
                    <a:pt x="84" y="225"/>
                    <a:pt x="84" y="225"/>
                  </a:cubicBezTo>
                  <a:cubicBezTo>
                    <a:pt x="85" y="223"/>
                    <a:pt x="87" y="220"/>
                    <a:pt x="88" y="218"/>
                  </a:cubicBezTo>
                  <a:cubicBezTo>
                    <a:pt x="89" y="215"/>
                    <a:pt x="91" y="212"/>
                    <a:pt x="91" y="210"/>
                  </a:cubicBezTo>
                  <a:cubicBezTo>
                    <a:pt x="92" y="198"/>
                    <a:pt x="83" y="196"/>
                    <a:pt x="76" y="193"/>
                  </a:cubicBezTo>
                  <a:cubicBezTo>
                    <a:pt x="70" y="190"/>
                    <a:pt x="66" y="188"/>
                    <a:pt x="61" y="185"/>
                  </a:cubicBezTo>
                  <a:cubicBezTo>
                    <a:pt x="60" y="185"/>
                    <a:pt x="60" y="185"/>
                    <a:pt x="60" y="185"/>
                  </a:cubicBezTo>
                  <a:cubicBezTo>
                    <a:pt x="59" y="187"/>
                    <a:pt x="58" y="191"/>
                    <a:pt x="56" y="193"/>
                  </a:cubicBezTo>
                  <a:cubicBezTo>
                    <a:pt x="61" y="195"/>
                    <a:pt x="65" y="197"/>
                    <a:pt x="71" y="199"/>
                  </a:cubicBezTo>
                  <a:cubicBezTo>
                    <a:pt x="74" y="201"/>
                    <a:pt x="83" y="204"/>
                    <a:pt x="84" y="208"/>
                  </a:cubicBezTo>
                  <a:cubicBezTo>
                    <a:pt x="85" y="212"/>
                    <a:pt x="82" y="216"/>
                    <a:pt x="81" y="217"/>
                  </a:cubicBezTo>
                  <a:cubicBezTo>
                    <a:pt x="81" y="217"/>
                    <a:pt x="81" y="217"/>
                    <a:pt x="80" y="218"/>
                  </a:cubicBezTo>
                  <a:cubicBezTo>
                    <a:pt x="80" y="218"/>
                    <a:pt x="80" y="218"/>
                    <a:pt x="79" y="218"/>
                  </a:cubicBezTo>
                  <a:cubicBezTo>
                    <a:pt x="79" y="218"/>
                    <a:pt x="79" y="219"/>
                    <a:pt x="78" y="219"/>
                  </a:cubicBezTo>
                  <a:cubicBezTo>
                    <a:pt x="78" y="219"/>
                    <a:pt x="76" y="220"/>
                    <a:pt x="76" y="220"/>
                  </a:cubicBezTo>
                  <a:cubicBezTo>
                    <a:pt x="74" y="220"/>
                    <a:pt x="71" y="218"/>
                    <a:pt x="69" y="217"/>
                  </a:cubicBezTo>
                  <a:cubicBezTo>
                    <a:pt x="68" y="217"/>
                    <a:pt x="67" y="216"/>
                    <a:pt x="66" y="216"/>
                  </a:cubicBezTo>
                  <a:cubicBezTo>
                    <a:pt x="60" y="213"/>
                    <a:pt x="54" y="210"/>
                    <a:pt x="50" y="208"/>
                  </a:cubicBezTo>
                  <a:cubicBezTo>
                    <a:pt x="48" y="211"/>
                    <a:pt x="47" y="213"/>
                    <a:pt x="46" y="216"/>
                  </a:cubicBezTo>
                  <a:cubicBezTo>
                    <a:pt x="51" y="218"/>
                    <a:pt x="56" y="220"/>
                    <a:pt x="60" y="223"/>
                  </a:cubicBezTo>
                  <a:close/>
                  <a:moveTo>
                    <a:pt x="431" y="184"/>
                  </a:moveTo>
                  <a:cubicBezTo>
                    <a:pt x="432" y="184"/>
                    <a:pt x="432" y="184"/>
                    <a:pt x="432" y="184"/>
                  </a:cubicBezTo>
                  <a:cubicBezTo>
                    <a:pt x="434" y="184"/>
                    <a:pt x="432" y="186"/>
                    <a:pt x="433" y="186"/>
                  </a:cubicBezTo>
                  <a:cubicBezTo>
                    <a:pt x="432" y="187"/>
                    <a:pt x="430" y="187"/>
                    <a:pt x="428" y="188"/>
                  </a:cubicBezTo>
                  <a:cubicBezTo>
                    <a:pt x="424" y="188"/>
                    <a:pt x="420" y="190"/>
                    <a:pt x="416" y="190"/>
                  </a:cubicBezTo>
                  <a:cubicBezTo>
                    <a:pt x="414" y="191"/>
                    <a:pt x="412" y="191"/>
                    <a:pt x="410" y="190"/>
                  </a:cubicBezTo>
                  <a:cubicBezTo>
                    <a:pt x="411" y="189"/>
                    <a:pt x="413" y="189"/>
                    <a:pt x="415" y="188"/>
                  </a:cubicBezTo>
                  <a:cubicBezTo>
                    <a:pt x="420" y="187"/>
                    <a:pt x="426" y="186"/>
                    <a:pt x="431" y="184"/>
                  </a:cubicBezTo>
                  <a:close/>
                  <a:moveTo>
                    <a:pt x="403" y="181"/>
                  </a:moveTo>
                  <a:cubicBezTo>
                    <a:pt x="339" y="181"/>
                    <a:pt x="339" y="181"/>
                    <a:pt x="339" y="181"/>
                  </a:cubicBezTo>
                  <a:cubicBezTo>
                    <a:pt x="338" y="181"/>
                    <a:pt x="338" y="181"/>
                    <a:pt x="338" y="182"/>
                  </a:cubicBezTo>
                  <a:cubicBezTo>
                    <a:pt x="337" y="184"/>
                    <a:pt x="340" y="183"/>
                    <a:pt x="342" y="183"/>
                  </a:cubicBezTo>
                  <a:cubicBezTo>
                    <a:pt x="404" y="183"/>
                    <a:pt x="404" y="183"/>
                    <a:pt x="404" y="183"/>
                  </a:cubicBezTo>
                  <a:cubicBezTo>
                    <a:pt x="405" y="183"/>
                    <a:pt x="407" y="184"/>
                    <a:pt x="407" y="182"/>
                  </a:cubicBezTo>
                  <a:cubicBezTo>
                    <a:pt x="407" y="180"/>
                    <a:pt x="404" y="181"/>
                    <a:pt x="403" y="181"/>
                  </a:cubicBezTo>
                  <a:close/>
                  <a:moveTo>
                    <a:pt x="577" y="207"/>
                  </a:moveTo>
                  <a:cubicBezTo>
                    <a:pt x="575" y="206"/>
                    <a:pt x="572" y="204"/>
                    <a:pt x="570" y="201"/>
                  </a:cubicBezTo>
                  <a:cubicBezTo>
                    <a:pt x="569" y="210"/>
                    <a:pt x="565" y="215"/>
                    <a:pt x="562" y="221"/>
                  </a:cubicBezTo>
                  <a:cubicBezTo>
                    <a:pt x="560" y="219"/>
                    <a:pt x="559" y="216"/>
                    <a:pt x="557" y="213"/>
                  </a:cubicBezTo>
                  <a:cubicBezTo>
                    <a:pt x="558" y="210"/>
                    <a:pt x="560" y="207"/>
                    <a:pt x="561" y="204"/>
                  </a:cubicBezTo>
                  <a:cubicBezTo>
                    <a:pt x="563" y="201"/>
                    <a:pt x="565" y="198"/>
                    <a:pt x="565" y="195"/>
                  </a:cubicBezTo>
                  <a:cubicBezTo>
                    <a:pt x="565" y="192"/>
                    <a:pt x="563" y="191"/>
                    <a:pt x="562" y="188"/>
                  </a:cubicBezTo>
                  <a:cubicBezTo>
                    <a:pt x="558" y="191"/>
                    <a:pt x="553" y="193"/>
                    <a:pt x="548" y="196"/>
                  </a:cubicBezTo>
                  <a:cubicBezTo>
                    <a:pt x="547" y="193"/>
                    <a:pt x="546" y="190"/>
                    <a:pt x="544" y="188"/>
                  </a:cubicBezTo>
                  <a:cubicBezTo>
                    <a:pt x="546" y="186"/>
                    <a:pt x="549" y="185"/>
                    <a:pt x="552" y="184"/>
                  </a:cubicBezTo>
                  <a:cubicBezTo>
                    <a:pt x="555" y="182"/>
                    <a:pt x="558" y="181"/>
                    <a:pt x="560" y="180"/>
                  </a:cubicBezTo>
                  <a:cubicBezTo>
                    <a:pt x="561" y="179"/>
                    <a:pt x="561" y="179"/>
                    <a:pt x="562" y="179"/>
                  </a:cubicBezTo>
                  <a:cubicBezTo>
                    <a:pt x="566" y="176"/>
                    <a:pt x="572" y="174"/>
                    <a:pt x="577" y="171"/>
                  </a:cubicBezTo>
                  <a:cubicBezTo>
                    <a:pt x="577" y="171"/>
                    <a:pt x="577" y="170"/>
                    <a:pt x="578" y="170"/>
                  </a:cubicBezTo>
                  <a:cubicBezTo>
                    <a:pt x="578" y="170"/>
                    <a:pt x="578" y="170"/>
                    <a:pt x="578" y="170"/>
                  </a:cubicBezTo>
                  <a:cubicBezTo>
                    <a:pt x="580" y="174"/>
                    <a:pt x="585" y="182"/>
                    <a:pt x="587" y="188"/>
                  </a:cubicBezTo>
                  <a:cubicBezTo>
                    <a:pt x="589" y="192"/>
                    <a:pt x="592" y="197"/>
                    <a:pt x="589" y="202"/>
                  </a:cubicBezTo>
                  <a:cubicBezTo>
                    <a:pt x="587" y="205"/>
                    <a:pt x="583" y="208"/>
                    <a:pt x="577" y="207"/>
                  </a:cubicBezTo>
                  <a:close/>
                  <a:moveTo>
                    <a:pt x="404" y="172"/>
                  </a:moveTo>
                  <a:cubicBezTo>
                    <a:pt x="404" y="169"/>
                    <a:pt x="404" y="169"/>
                    <a:pt x="404" y="169"/>
                  </a:cubicBezTo>
                  <a:cubicBezTo>
                    <a:pt x="410" y="173"/>
                    <a:pt x="417" y="176"/>
                    <a:pt x="423" y="180"/>
                  </a:cubicBezTo>
                  <a:cubicBezTo>
                    <a:pt x="422" y="182"/>
                    <a:pt x="421" y="180"/>
                    <a:pt x="421" y="180"/>
                  </a:cubicBezTo>
                  <a:cubicBezTo>
                    <a:pt x="416" y="178"/>
                    <a:pt x="409" y="174"/>
                    <a:pt x="404" y="172"/>
                  </a:cubicBezTo>
                  <a:close/>
                  <a:moveTo>
                    <a:pt x="285" y="167"/>
                  </a:moveTo>
                  <a:cubicBezTo>
                    <a:pt x="281" y="172"/>
                    <a:pt x="286" y="179"/>
                    <a:pt x="292" y="178"/>
                  </a:cubicBezTo>
                  <a:cubicBezTo>
                    <a:pt x="295" y="178"/>
                    <a:pt x="298" y="175"/>
                    <a:pt x="297" y="170"/>
                  </a:cubicBezTo>
                  <a:cubicBezTo>
                    <a:pt x="297" y="166"/>
                    <a:pt x="293" y="164"/>
                    <a:pt x="289" y="165"/>
                  </a:cubicBezTo>
                  <a:cubicBezTo>
                    <a:pt x="287" y="165"/>
                    <a:pt x="286" y="166"/>
                    <a:pt x="285" y="167"/>
                  </a:cubicBezTo>
                  <a:close/>
                  <a:moveTo>
                    <a:pt x="228" y="161"/>
                  </a:moveTo>
                  <a:cubicBezTo>
                    <a:pt x="230" y="162"/>
                    <a:pt x="233" y="164"/>
                    <a:pt x="235" y="164"/>
                  </a:cubicBezTo>
                  <a:cubicBezTo>
                    <a:pt x="235" y="165"/>
                    <a:pt x="236" y="165"/>
                    <a:pt x="236" y="165"/>
                  </a:cubicBezTo>
                  <a:cubicBezTo>
                    <a:pt x="237" y="165"/>
                    <a:pt x="238" y="166"/>
                    <a:pt x="239" y="166"/>
                  </a:cubicBezTo>
                  <a:cubicBezTo>
                    <a:pt x="240" y="167"/>
                    <a:pt x="241" y="167"/>
                    <a:pt x="242" y="167"/>
                  </a:cubicBezTo>
                  <a:cubicBezTo>
                    <a:pt x="243" y="167"/>
                    <a:pt x="244" y="168"/>
                    <a:pt x="244" y="169"/>
                  </a:cubicBezTo>
                  <a:cubicBezTo>
                    <a:pt x="245" y="169"/>
                    <a:pt x="247" y="169"/>
                    <a:pt x="248" y="170"/>
                  </a:cubicBezTo>
                  <a:cubicBezTo>
                    <a:pt x="248" y="170"/>
                    <a:pt x="250" y="171"/>
                    <a:pt x="250" y="170"/>
                  </a:cubicBezTo>
                  <a:cubicBezTo>
                    <a:pt x="243" y="166"/>
                    <a:pt x="235" y="164"/>
                    <a:pt x="228" y="160"/>
                  </a:cubicBezTo>
                  <a:cubicBezTo>
                    <a:pt x="227" y="160"/>
                    <a:pt x="227" y="160"/>
                    <a:pt x="227" y="160"/>
                  </a:cubicBezTo>
                  <a:cubicBezTo>
                    <a:pt x="227" y="161"/>
                    <a:pt x="227" y="161"/>
                    <a:pt x="228" y="161"/>
                  </a:cubicBezTo>
                  <a:close/>
                  <a:moveTo>
                    <a:pt x="396" y="173"/>
                  </a:moveTo>
                  <a:cubicBezTo>
                    <a:pt x="396" y="175"/>
                    <a:pt x="396" y="177"/>
                    <a:pt x="397" y="178"/>
                  </a:cubicBezTo>
                  <a:cubicBezTo>
                    <a:pt x="398" y="175"/>
                    <a:pt x="397" y="172"/>
                    <a:pt x="396" y="169"/>
                  </a:cubicBezTo>
                  <a:cubicBezTo>
                    <a:pt x="396" y="167"/>
                    <a:pt x="396" y="166"/>
                    <a:pt x="396" y="164"/>
                  </a:cubicBezTo>
                  <a:cubicBezTo>
                    <a:pt x="396" y="163"/>
                    <a:pt x="396" y="161"/>
                    <a:pt x="395" y="160"/>
                  </a:cubicBezTo>
                  <a:cubicBezTo>
                    <a:pt x="395" y="164"/>
                    <a:pt x="396" y="169"/>
                    <a:pt x="396" y="173"/>
                  </a:cubicBezTo>
                  <a:close/>
                  <a:moveTo>
                    <a:pt x="86" y="145"/>
                  </a:moveTo>
                  <a:cubicBezTo>
                    <a:pt x="97" y="152"/>
                    <a:pt x="107" y="159"/>
                    <a:pt x="118" y="166"/>
                  </a:cubicBezTo>
                  <a:cubicBezTo>
                    <a:pt x="117" y="168"/>
                    <a:pt x="115" y="170"/>
                    <a:pt x="113" y="173"/>
                  </a:cubicBezTo>
                  <a:cubicBezTo>
                    <a:pt x="104" y="173"/>
                    <a:pt x="93" y="173"/>
                    <a:pt x="83" y="173"/>
                  </a:cubicBezTo>
                  <a:cubicBezTo>
                    <a:pt x="84" y="175"/>
                    <a:pt x="86" y="175"/>
                    <a:pt x="87" y="176"/>
                  </a:cubicBezTo>
                  <a:cubicBezTo>
                    <a:pt x="87" y="176"/>
                    <a:pt x="88" y="177"/>
                    <a:pt x="88" y="177"/>
                  </a:cubicBezTo>
                  <a:cubicBezTo>
                    <a:pt x="93" y="179"/>
                    <a:pt x="98" y="184"/>
                    <a:pt x="104" y="187"/>
                  </a:cubicBezTo>
                  <a:cubicBezTo>
                    <a:pt x="102" y="190"/>
                    <a:pt x="101" y="191"/>
                    <a:pt x="99" y="194"/>
                  </a:cubicBezTo>
                  <a:cubicBezTo>
                    <a:pt x="98" y="194"/>
                    <a:pt x="98" y="193"/>
                    <a:pt x="97" y="193"/>
                  </a:cubicBezTo>
                  <a:cubicBezTo>
                    <a:pt x="96" y="192"/>
                    <a:pt x="94" y="190"/>
                    <a:pt x="92" y="189"/>
                  </a:cubicBezTo>
                  <a:cubicBezTo>
                    <a:pt x="91" y="189"/>
                    <a:pt x="90" y="188"/>
                    <a:pt x="89" y="187"/>
                  </a:cubicBezTo>
                  <a:cubicBezTo>
                    <a:pt x="88" y="186"/>
                    <a:pt x="87" y="186"/>
                    <a:pt x="85" y="185"/>
                  </a:cubicBezTo>
                  <a:cubicBezTo>
                    <a:pt x="84" y="184"/>
                    <a:pt x="84" y="183"/>
                    <a:pt x="83" y="183"/>
                  </a:cubicBezTo>
                  <a:cubicBezTo>
                    <a:pt x="83" y="183"/>
                    <a:pt x="82" y="182"/>
                    <a:pt x="81" y="182"/>
                  </a:cubicBezTo>
                  <a:cubicBezTo>
                    <a:pt x="81" y="181"/>
                    <a:pt x="80" y="181"/>
                    <a:pt x="79" y="180"/>
                  </a:cubicBezTo>
                  <a:cubicBezTo>
                    <a:pt x="79" y="180"/>
                    <a:pt x="78" y="180"/>
                    <a:pt x="77" y="179"/>
                  </a:cubicBezTo>
                  <a:cubicBezTo>
                    <a:pt x="76" y="179"/>
                    <a:pt x="76" y="178"/>
                    <a:pt x="75" y="178"/>
                  </a:cubicBezTo>
                  <a:cubicBezTo>
                    <a:pt x="75" y="177"/>
                    <a:pt x="74" y="177"/>
                    <a:pt x="73" y="177"/>
                  </a:cubicBezTo>
                  <a:cubicBezTo>
                    <a:pt x="71" y="175"/>
                    <a:pt x="69" y="174"/>
                    <a:pt x="67" y="172"/>
                  </a:cubicBezTo>
                  <a:cubicBezTo>
                    <a:pt x="69" y="170"/>
                    <a:pt x="70" y="168"/>
                    <a:pt x="72" y="166"/>
                  </a:cubicBezTo>
                  <a:cubicBezTo>
                    <a:pt x="102" y="166"/>
                    <a:pt x="102" y="166"/>
                    <a:pt x="102" y="166"/>
                  </a:cubicBezTo>
                  <a:cubicBezTo>
                    <a:pt x="103" y="165"/>
                    <a:pt x="102" y="165"/>
                    <a:pt x="101" y="164"/>
                  </a:cubicBezTo>
                  <a:cubicBezTo>
                    <a:pt x="100" y="164"/>
                    <a:pt x="100" y="163"/>
                    <a:pt x="99" y="162"/>
                  </a:cubicBezTo>
                  <a:cubicBezTo>
                    <a:pt x="97" y="162"/>
                    <a:pt x="96" y="161"/>
                    <a:pt x="94" y="160"/>
                  </a:cubicBezTo>
                  <a:cubicBezTo>
                    <a:pt x="93" y="159"/>
                    <a:pt x="92" y="158"/>
                    <a:pt x="91" y="157"/>
                  </a:cubicBezTo>
                  <a:cubicBezTo>
                    <a:pt x="88" y="155"/>
                    <a:pt x="85" y="153"/>
                    <a:pt x="82" y="151"/>
                  </a:cubicBezTo>
                  <a:cubicBezTo>
                    <a:pt x="83" y="149"/>
                    <a:pt x="84" y="147"/>
                    <a:pt x="86" y="145"/>
                  </a:cubicBezTo>
                  <a:cubicBezTo>
                    <a:pt x="86" y="145"/>
                    <a:pt x="86" y="145"/>
                    <a:pt x="86" y="145"/>
                  </a:cubicBezTo>
                  <a:close/>
                  <a:moveTo>
                    <a:pt x="240" y="142"/>
                  </a:moveTo>
                  <a:cubicBezTo>
                    <a:pt x="239" y="142"/>
                    <a:pt x="240" y="141"/>
                    <a:pt x="240" y="142"/>
                  </a:cubicBezTo>
                  <a:cubicBezTo>
                    <a:pt x="243" y="142"/>
                    <a:pt x="244" y="144"/>
                    <a:pt x="246" y="146"/>
                  </a:cubicBezTo>
                  <a:cubicBezTo>
                    <a:pt x="250" y="151"/>
                    <a:pt x="250" y="151"/>
                    <a:pt x="250" y="151"/>
                  </a:cubicBezTo>
                  <a:cubicBezTo>
                    <a:pt x="253" y="153"/>
                    <a:pt x="256" y="155"/>
                    <a:pt x="257" y="157"/>
                  </a:cubicBezTo>
                  <a:cubicBezTo>
                    <a:pt x="258" y="158"/>
                    <a:pt x="259" y="159"/>
                    <a:pt x="259" y="160"/>
                  </a:cubicBezTo>
                  <a:cubicBezTo>
                    <a:pt x="258" y="161"/>
                    <a:pt x="257" y="160"/>
                    <a:pt x="256" y="159"/>
                  </a:cubicBezTo>
                  <a:cubicBezTo>
                    <a:pt x="251" y="153"/>
                    <a:pt x="245" y="148"/>
                    <a:pt x="240" y="142"/>
                  </a:cubicBezTo>
                  <a:close/>
                  <a:moveTo>
                    <a:pt x="552" y="134"/>
                  </a:moveTo>
                  <a:cubicBezTo>
                    <a:pt x="551" y="135"/>
                    <a:pt x="549" y="136"/>
                    <a:pt x="547" y="137"/>
                  </a:cubicBezTo>
                  <a:cubicBezTo>
                    <a:pt x="549" y="141"/>
                    <a:pt x="553" y="144"/>
                    <a:pt x="555" y="148"/>
                  </a:cubicBezTo>
                  <a:cubicBezTo>
                    <a:pt x="546" y="154"/>
                    <a:pt x="538" y="161"/>
                    <a:pt x="529" y="167"/>
                  </a:cubicBezTo>
                  <a:cubicBezTo>
                    <a:pt x="530" y="169"/>
                    <a:pt x="533" y="171"/>
                    <a:pt x="534" y="174"/>
                  </a:cubicBezTo>
                  <a:cubicBezTo>
                    <a:pt x="536" y="172"/>
                    <a:pt x="538" y="170"/>
                    <a:pt x="540" y="169"/>
                  </a:cubicBezTo>
                  <a:cubicBezTo>
                    <a:pt x="542" y="167"/>
                    <a:pt x="545" y="166"/>
                    <a:pt x="547" y="164"/>
                  </a:cubicBezTo>
                  <a:cubicBezTo>
                    <a:pt x="552" y="161"/>
                    <a:pt x="555" y="157"/>
                    <a:pt x="560" y="155"/>
                  </a:cubicBezTo>
                  <a:cubicBezTo>
                    <a:pt x="563" y="158"/>
                    <a:pt x="565" y="162"/>
                    <a:pt x="568" y="165"/>
                  </a:cubicBezTo>
                  <a:cubicBezTo>
                    <a:pt x="569" y="163"/>
                    <a:pt x="571" y="163"/>
                    <a:pt x="572" y="161"/>
                  </a:cubicBezTo>
                  <a:cubicBezTo>
                    <a:pt x="566" y="152"/>
                    <a:pt x="559" y="143"/>
                    <a:pt x="552" y="134"/>
                  </a:cubicBezTo>
                  <a:close/>
                  <a:moveTo>
                    <a:pt x="260" y="133"/>
                  </a:moveTo>
                  <a:cubicBezTo>
                    <a:pt x="260" y="133"/>
                    <a:pt x="261" y="133"/>
                    <a:pt x="261" y="134"/>
                  </a:cubicBezTo>
                  <a:cubicBezTo>
                    <a:pt x="261" y="134"/>
                    <a:pt x="261" y="134"/>
                    <a:pt x="261" y="134"/>
                  </a:cubicBezTo>
                  <a:cubicBezTo>
                    <a:pt x="262" y="137"/>
                    <a:pt x="263" y="140"/>
                    <a:pt x="264" y="142"/>
                  </a:cubicBezTo>
                  <a:cubicBezTo>
                    <a:pt x="265" y="143"/>
                    <a:pt x="265" y="144"/>
                    <a:pt x="265" y="145"/>
                  </a:cubicBezTo>
                  <a:cubicBezTo>
                    <a:pt x="266" y="145"/>
                    <a:pt x="266" y="147"/>
                    <a:pt x="266" y="148"/>
                  </a:cubicBezTo>
                  <a:cubicBezTo>
                    <a:pt x="267" y="148"/>
                    <a:pt x="267" y="149"/>
                    <a:pt x="267" y="150"/>
                  </a:cubicBezTo>
                  <a:cubicBezTo>
                    <a:pt x="268" y="151"/>
                    <a:pt x="268" y="154"/>
                    <a:pt x="270" y="153"/>
                  </a:cubicBezTo>
                  <a:cubicBezTo>
                    <a:pt x="271" y="152"/>
                    <a:pt x="270" y="150"/>
                    <a:pt x="269" y="148"/>
                  </a:cubicBezTo>
                  <a:cubicBezTo>
                    <a:pt x="268" y="147"/>
                    <a:pt x="267" y="145"/>
                    <a:pt x="266" y="144"/>
                  </a:cubicBezTo>
                  <a:cubicBezTo>
                    <a:pt x="265" y="141"/>
                    <a:pt x="263" y="137"/>
                    <a:pt x="261" y="134"/>
                  </a:cubicBezTo>
                  <a:cubicBezTo>
                    <a:pt x="261" y="134"/>
                    <a:pt x="261" y="134"/>
                    <a:pt x="261" y="134"/>
                  </a:cubicBezTo>
                  <a:cubicBezTo>
                    <a:pt x="261" y="133"/>
                    <a:pt x="261" y="133"/>
                    <a:pt x="260" y="133"/>
                  </a:cubicBezTo>
                  <a:cubicBezTo>
                    <a:pt x="260" y="132"/>
                    <a:pt x="260" y="133"/>
                    <a:pt x="260" y="133"/>
                  </a:cubicBezTo>
                  <a:close/>
                  <a:moveTo>
                    <a:pt x="94" y="135"/>
                  </a:moveTo>
                  <a:cubicBezTo>
                    <a:pt x="97" y="137"/>
                    <a:pt x="99" y="139"/>
                    <a:pt x="101" y="141"/>
                  </a:cubicBezTo>
                  <a:cubicBezTo>
                    <a:pt x="103" y="142"/>
                    <a:pt x="104" y="143"/>
                    <a:pt x="105" y="144"/>
                  </a:cubicBezTo>
                  <a:cubicBezTo>
                    <a:pt x="106" y="145"/>
                    <a:pt x="107" y="146"/>
                    <a:pt x="109" y="147"/>
                  </a:cubicBezTo>
                  <a:cubicBezTo>
                    <a:pt x="109" y="147"/>
                    <a:pt x="109" y="147"/>
                    <a:pt x="110" y="148"/>
                  </a:cubicBezTo>
                  <a:cubicBezTo>
                    <a:pt x="110" y="148"/>
                    <a:pt x="110" y="149"/>
                    <a:pt x="110" y="149"/>
                  </a:cubicBezTo>
                  <a:cubicBezTo>
                    <a:pt x="111" y="149"/>
                    <a:pt x="111" y="149"/>
                    <a:pt x="112" y="149"/>
                  </a:cubicBezTo>
                  <a:cubicBezTo>
                    <a:pt x="112" y="149"/>
                    <a:pt x="112" y="150"/>
                    <a:pt x="112" y="150"/>
                  </a:cubicBezTo>
                  <a:cubicBezTo>
                    <a:pt x="114" y="151"/>
                    <a:pt x="115" y="152"/>
                    <a:pt x="116" y="153"/>
                  </a:cubicBezTo>
                  <a:cubicBezTo>
                    <a:pt x="117" y="154"/>
                    <a:pt x="119" y="155"/>
                    <a:pt x="120" y="156"/>
                  </a:cubicBezTo>
                  <a:cubicBezTo>
                    <a:pt x="121" y="157"/>
                    <a:pt x="122" y="159"/>
                    <a:pt x="124" y="159"/>
                  </a:cubicBezTo>
                  <a:cubicBezTo>
                    <a:pt x="125" y="157"/>
                    <a:pt x="127" y="155"/>
                    <a:pt x="129" y="153"/>
                  </a:cubicBezTo>
                  <a:cubicBezTo>
                    <a:pt x="129" y="152"/>
                    <a:pt x="128" y="152"/>
                    <a:pt x="127" y="152"/>
                  </a:cubicBezTo>
                  <a:cubicBezTo>
                    <a:pt x="127" y="151"/>
                    <a:pt x="126" y="150"/>
                    <a:pt x="125" y="150"/>
                  </a:cubicBezTo>
                  <a:cubicBezTo>
                    <a:pt x="121" y="146"/>
                    <a:pt x="117" y="143"/>
                    <a:pt x="113" y="139"/>
                  </a:cubicBezTo>
                  <a:cubicBezTo>
                    <a:pt x="108" y="136"/>
                    <a:pt x="104" y="132"/>
                    <a:pt x="100" y="129"/>
                  </a:cubicBezTo>
                  <a:cubicBezTo>
                    <a:pt x="100" y="128"/>
                    <a:pt x="100" y="128"/>
                    <a:pt x="99" y="128"/>
                  </a:cubicBezTo>
                  <a:cubicBezTo>
                    <a:pt x="98" y="131"/>
                    <a:pt x="96" y="132"/>
                    <a:pt x="94" y="135"/>
                  </a:cubicBezTo>
                  <a:close/>
                  <a:moveTo>
                    <a:pt x="282" y="125"/>
                  </a:moveTo>
                  <a:cubicBezTo>
                    <a:pt x="282" y="133"/>
                    <a:pt x="282" y="142"/>
                    <a:pt x="282" y="149"/>
                  </a:cubicBezTo>
                  <a:cubicBezTo>
                    <a:pt x="282" y="150"/>
                    <a:pt x="281" y="152"/>
                    <a:pt x="283" y="152"/>
                  </a:cubicBezTo>
                  <a:cubicBezTo>
                    <a:pt x="283" y="144"/>
                    <a:pt x="283" y="133"/>
                    <a:pt x="283" y="124"/>
                  </a:cubicBezTo>
                  <a:cubicBezTo>
                    <a:pt x="282" y="124"/>
                    <a:pt x="282" y="124"/>
                    <a:pt x="282" y="124"/>
                  </a:cubicBezTo>
                  <a:cubicBezTo>
                    <a:pt x="282" y="125"/>
                    <a:pt x="282" y="125"/>
                    <a:pt x="282" y="125"/>
                  </a:cubicBezTo>
                  <a:close/>
                  <a:moveTo>
                    <a:pt x="544" y="124"/>
                  </a:moveTo>
                  <a:cubicBezTo>
                    <a:pt x="545" y="125"/>
                    <a:pt x="546" y="125"/>
                    <a:pt x="546" y="127"/>
                  </a:cubicBezTo>
                  <a:cubicBezTo>
                    <a:pt x="544" y="127"/>
                    <a:pt x="543" y="129"/>
                    <a:pt x="542" y="131"/>
                  </a:cubicBezTo>
                  <a:cubicBezTo>
                    <a:pt x="539" y="129"/>
                    <a:pt x="537" y="126"/>
                    <a:pt x="533" y="123"/>
                  </a:cubicBezTo>
                  <a:cubicBezTo>
                    <a:pt x="532" y="121"/>
                    <a:pt x="530" y="119"/>
                    <a:pt x="527" y="116"/>
                  </a:cubicBezTo>
                  <a:cubicBezTo>
                    <a:pt x="527" y="116"/>
                    <a:pt x="525" y="115"/>
                    <a:pt x="525" y="115"/>
                  </a:cubicBezTo>
                  <a:cubicBezTo>
                    <a:pt x="524" y="114"/>
                    <a:pt x="523" y="117"/>
                    <a:pt x="522" y="118"/>
                  </a:cubicBezTo>
                  <a:cubicBezTo>
                    <a:pt x="521" y="119"/>
                    <a:pt x="520" y="119"/>
                    <a:pt x="519" y="121"/>
                  </a:cubicBezTo>
                  <a:cubicBezTo>
                    <a:pt x="524" y="126"/>
                    <a:pt x="529" y="130"/>
                    <a:pt x="534" y="135"/>
                  </a:cubicBezTo>
                  <a:cubicBezTo>
                    <a:pt x="533" y="137"/>
                    <a:pt x="531" y="139"/>
                    <a:pt x="529" y="140"/>
                  </a:cubicBezTo>
                  <a:cubicBezTo>
                    <a:pt x="527" y="137"/>
                    <a:pt x="522" y="133"/>
                    <a:pt x="518" y="129"/>
                  </a:cubicBezTo>
                  <a:cubicBezTo>
                    <a:pt x="517" y="128"/>
                    <a:pt x="515" y="125"/>
                    <a:pt x="515" y="125"/>
                  </a:cubicBezTo>
                  <a:cubicBezTo>
                    <a:pt x="514" y="125"/>
                    <a:pt x="512" y="128"/>
                    <a:pt x="511" y="129"/>
                  </a:cubicBezTo>
                  <a:cubicBezTo>
                    <a:pt x="509" y="130"/>
                    <a:pt x="508" y="131"/>
                    <a:pt x="507" y="132"/>
                  </a:cubicBezTo>
                  <a:cubicBezTo>
                    <a:pt x="508" y="134"/>
                    <a:pt x="510" y="135"/>
                    <a:pt x="511" y="137"/>
                  </a:cubicBezTo>
                  <a:cubicBezTo>
                    <a:pt x="515" y="141"/>
                    <a:pt x="519" y="145"/>
                    <a:pt x="524" y="149"/>
                  </a:cubicBezTo>
                  <a:cubicBezTo>
                    <a:pt x="523" y="151"/>
                    <a:pt x="520" y="152"/>
                    <a:pt x="519" y="154"/>
                  </a:cubicBezTo>
                  <a:cubicBezTo>
                    <a:pt x="513" y="148"/>
                    <a:pt x="507" y="141"/>
                    <a:pt x="500" y="134"/>
                  </a:cubicBezTo>
                  <a:cubicBezTo>
                    <a:pt x="499" y="133"/>
                    <a:pt x="496" y="131"/>
                    <a:pt x="496" y="131"/>
                  </a:cubicBezTo>
                  <a:cubicBezTo>
                    <a:pt x="496" y="131"/>
                    <a:pt x="501" y="126"/>
                    <a:pt x="503" y="124"/>
                  </a:cubicBezTo>
                  <a:cubicBezTo>
                    <a:pt x="505" y="122"/>
                    <a:pt x="508" y="120"/>
                    <a:pt x="509" y="118"/>
                  </a:cubicBezTo>
                  <a:cubicBezTo>
                    <a:pt x="515" y="112"/>
                    <a:pt x="519" y="109"/>
                    <a:pt x="524" y="104"/>
                  </a:cubicBezTo>
                  <a:cubicBezTo>
                    <a:pt x="524" y="104"/>
                    <a:pt x="524" y="105"/>
                    <a:pt x="525" y="105"/>
                  </a:cubicBezTo>
                  <a:cubicBezTo>
                    <a:pt x="531" y="111"/>
                    <a:pt x="537" y="117"/>
                    <a:pt x="544" y="124"/>
                  </a:cubicBezTo>
                  <a:close/>
                  <a:moveTo>
                    <a:pt x="133" y="95"/>
                  </a:moveTo>
                  <a:cubicBezTo>
                    <a:pt x="138" y="107"/>
                    <a:pt x="143" y="121"/>
                    <a:pt x="149" y="133"/>
                  </a:cubicBezTo>
                  <a:cubicBezTo>
                    <a:pt x="147" y="135"/>
                    <a:pt x="144" y="137"/>
                    <a:pt x="142" y="139"/>
                  </a:cubicBezTo>
                  <a:cubicBezTo>
                    <a:pt x="133" y="136"/>
                    <a:pt x="125" y="131"/>
                    <a:pt x="116" y="127"/>
                  </a:cubicBezTo>
                  <a:cubicBezTo>
                    <a:pt x="115" y="127"/>
                    <a:pt x="115" y="127"/>
                    <a:pt x="114" y="127"/>
                  </a:cubicBezTo>
                  <a:cubicBezTo>
                    <a:pt x="111" y="125"/>
                    <a:pt x="108" y="123"/>
                    <a:pt x="105" y="123"/>
                  </a:cubicBezTo>
                  <a:cubicBezTo>
                    <a:pt x="104" y="121"/>
                    <a:pt x="107" y="120"/>
                    <a:pt x="107" y="119"/>
                  </a:cubicBezTo>
                  <a:cubicBezTo>
                    <a:pt x="109" y="118"/>
                    <a:pt x="110" y="117"/>
                    <a:pt x="111" y="116"/>
                  </a:cubicBezTo>
                  <a:cubicBezTo>
                    <a:pt x="120" y="120"/>
                    <a:pt x="129" y="124"/>
                    <a:pt x="138" y="129"/>
                  </a:cubicBezTo>
                  <a:cubicBezTo>
                    <a:pt x="139" y="128"/>
                    <a:pt x="137" y="126"/>
                    <a:pt x="137" y="125"/>
                  </a:cubicBezTo>
                  <a:cubicBezTo>
                    <a:pt x="133" y="118"/>
                    <a:pt x="130" y="109"/>
                    <a:pt x="126" y="102"/>
                  </a:cubicBezTo>
                  <a:cubicBezTo>
                    <a:pt x="127" y="100"/>
                    <a:pt x="128" y="100"/>
                    <a:pt x="129" y="99"/>
                  </a:cubicBezTo>
                  <a:cubicBezTo>
                    <a:pt x="130" y="98"/>
                    <a:pt x="130" y="96"/>
                    <a:pt x="132" y="96"/>
                  </a:cubicBezTo>
                  <a:cubicBezTo>
                    <a:pt x="132" y="96"/>
                    <a:pt x="132" y="95"/>
                    <a:pt x="133" y="95"/>
                  </a:cubicBezTo>
                  <a:close/>
                  <a:moveTo>
                    <a:pt x="452" y="193"/>
                  </a:moveTo>
                  <a:cubicBezTo>
                    <a:pt x="448" y="204"/>
                    <a:pt x="444" y="215"/>
                    <a:pt x="441" y="226"/>
                  </a:cubicBezTo>
                  <a:cubicBezTo>
                    <a:pt x="442" y="228"/>
                    <a:pt x="444" y="229"/>
                    <a:pt x="445" y="229"/>
                  </a:cubicBezTo>
                  <a:cubicBezTo>
                    <a:pt x="447" y="230"/>
                    <a:pt x="450" y="231"/>
                    <a:pt x="452" y="231"/>
                  </a:cubicBezTo>
                  <a:cubicBezTo>
                    <a:pt x="454" y="228"/>
                    <a:pt x="455" y="225"/>
                    <a:pt x="456" y="221"/>
                  </a:cubicBezTo>
                  <a:cubicBezTo>
                    <a:pt x="459" y="212"/>
                    <a:pt x="462" y="203"/>
                    <a:pt x="465" y="193"/>
                  </a:cubicBezTo>
                  <a:cubicBezTo>
                    <a:pt x="466" y="199"/>
                    <a:pt x="465" y="206"/>
                    <a:pt x="465" y="213"/>
                  </a:cubicBezTo>
                  <a:cubicBezTo>
                    <a:pt x="465" y="234"/>
                    <a:pt x="465" y="234"/>
                    <a:pt x="465" y="234"/>
                  </a:cubicBezTo>
                  <a:cubicBezTo>
                    <a:pt x="467" y="236"/>
                    <a:pt x="475" y="236"/>
                    <a:pt x="478" y="235"/>
                  </a:cubicBezTo>
                  <a:cubicBezTo>
                    <a:pt x="479" y="221"/>
                    <a:pt x="478" y="206"/>
                    <a:pt x="478" y="192"/>
                  </a:cubicBezTo>
                  <a:cubicBezTo>
                    <a:pt x="483" y="192"/>
                    <a:pt x="483" y="192"/>
                    <a:pt x="483" y="192"/>
                  </a:cubicBezTo>
                  <a:cubicBezTo>
                    <a:pt x="483" y="183"/>
                    <a:pt x="483" y="183"/>
                    <a:pt x="483" y="183"/>
                  </a:cubicBezTo>
                  <a:cubicBezTo>
                    <a:pt x="468" y="183"/>
                    <a:pt x="451" y="184"/>
                    <a:pt x="437" y="183"/>
                  </a:cubicBezTo>
                  <a:cubicBezTo>
                    <a:pt x="436" y="183"/>
                    <a:pt x="434" y="184"/>
                    <a:pt x="434" y="182"/>
                  </a:cubicBezTo>
                  <a:cubicBezTo>
                    <a:pt x="434" y="181"/>
                    <a:pt x="434" y="180"/>
                    <a:pt x="436" y="181"/>
                  </a:cubicBezTo>
                  <a:cubicBezTo>
                    <a:pt x="439" y="181"/>
                    <a:pt x="439" y="181"/>
                    <a:pt x="439" y="181"/>
                  </a:cubicBezTo>
                  <a:cubicBezTo>
                    <a:pt x="453" y="181"/>
                    <a:pt x="469" y="181"/>
                    <a:pt x="483" y="180"/>
                  </a:cubicBezTo>
                  <a:cubicBezTo>
                    <a:pt x="483" y="178"/>
                    <a:pt x="483" y="178"/>
                    <a:pt x="483" y="178"/>
                  </a:cubicBezTo>
                  <a:cubicBezTo>
                    <a:pt x="483" y="177"/>
                    <a:pt x="481" y="178"/>
                    <a:pt x="481" y="178"/>
                  </a:cubicBezTo>
                  <a:cubicBezTo>
                    <a:pt x="473" y="177"/>
                    <a:pt x="466" y="178"/>
                    <a:pt x="459" y="178"/>
                  </a:cubicBezTo>
                  <a:cubicBezTo>
                    <a:pt x="450" y="178"/>
                    <a:pt x="441" y="178"/>
                    <a:pt x="433" y="178"/>
                  </a:cubicBezTo>
                  <a:cubicBezTo>
                    <a:pt x="428" y="177"/>
                    <a:pt x="423" y="175"/>
                    <a:pt x="419" y="174"/>
                  </a:cubicBezTo>
                  <a:cubicBezTo>
                    <a:pt x="418" y="173"/>
                    <a:pt x="417" y="173"/>
                    <a:pt x="416" y="172"/>
                  </a:cubicBezTo>
                  <a:cubicBezTo>
                    <a:pt x="415" y="171"/>
                    <a:pt x="413" y="171"/>
                    <a:pt x="412" y="170"/>
                  </a:cubicBezTo>
                  <a:cubicBezTo>
                    <a:pt x="412" y="170"/>
                    <a:pt x="412" y="170"/>
                    <a:pt x="411" y="169"/>
                  </a:cubicBezTo>
                  <a:cubicBezTo>
                    <a:pt x="410" y="169"/>
                    <a:pt x="409" y="168"/>
                    <a:pt x="409" y="167"/>
                  </a:cubicBezTo>
                  <a:cubicBezTo>
                    <a:pt x="406" y="166"/>
                    <a:pt x="405" y="164"/>
                    <a:pt x="403" y="161"/>
                  </a:cubicBezTo>
                  <a:cubicBezTo>
                    <a:pt x="402" y="160"/>
                    <a:pt x="401" y="159"/>
                    <a:pt x="400" y="158"/>
                  </a:cubicBezTo>
                  <a:cubicBezTo>
                    <a:pt x="399" y="156"/>
                    <a:pt x="398" y="156"/>
                    <a:pt x="398" y="155"/>
                  </a:cubicBezTo>
                  <a:cubicBezTo>
                    <a:pt x="396" y="152"/>
                    <a:pt x="396" y="150"/>
                    <a:pt x="394" y="147"/>
                  </a:cubicBezTo>
                  <a:cubicBezTo>
                    <a:pt x="394" y="146"/>
                    <a:pt x="395" y="144"/>
                    <a:pt x="392" y="145"/>
                  </a:cubicBezTo>
                  <a:cubicBezTo>
                    <a:pt x="391" y="144"/>
                    <a:pt x="392" y="147"/>
                    <a:pt x="391" y="148"/>
                  </a:cubicBezTo>
                  <a:cubicBezTo>
                    <a:pt x="391" y="174"/>
                    <a:pt x="391" y="174"/>
                    <a:pt x="391" y="174"/>
                  </a:cubicBezTo>
                  <a:cubicBezTo>
                    <a:pt x="391" y="175"/>
                    <a:pt x="392" y="178"/>
                    <a:pt x="391" y="178"/>
                  </a:cubicBezTo>
                  <a:cubicBezTo>
                    <a:pt x="389" y="178"/>
                    <a:pt x="390" y="175"/>
                    <a:pt x="390" y="175"/>
                  </a:cubicBezTo>
                  <a:cubicBezTo>
                    <a:pt x="389" y="165"/>
                    <a:pt x="390" y="154"/>
                    <a:pt x="390" y="145"/>
                  </a:cubicBezTo>
                  <a:cubicBezTo>
                    <a:pt x="389" y="144"/>
                    <a:pt x="386" y="145"/>
                    <a:pt x="385" y="145"/>
                  </a:cubicBezTo>
                  <a:cubicBezTo>
                    <a:pt x="385" y="178"/>
                    <a:pt x="385" y="178"/>
                    <a:pt x="385" y="178"/>
                  </a:cubicBezTo>
                  <a:cubicBezTo>
                    <a:pt x="339" y="178"/>
                    <a:pt x="339" y="178"/>
                    <a:pt x="339" y="178"/>
                  </a:cubicBezTo>
                  <a:cubicBezTo>
                    <a:pt x="337" y="177"/>
                    <a:pt x="339" y="180"/>
                    <a:pt x="337" y="179"/>
                  </a:cubicBezTo>
                  <a:cubicBezTo>
                    <a:pt x="314" y="179"/>
                    <a:pt x="314" y="179"/>
                    <a:pt x="314" y="179"/>
                  </a:cubicBezTo>
                  <a:cubicBezTo>
                    <a:pt x="310" y="164"/>
                    <a:pt x="301" y="154"/>
                    <a:pt x="285" y="151"/>
                  </a:cubicBezTo>
                  <a:cubicBezTo>
                    <a:pt x="285" y="125"/>
                    <a:pt x="285" y="125"/>
                    <a:pt x="285" y="125"/>
                  </a:cubicBezTo>
                  <a:cubicBezTo>
                    <a:pt x="285" y="123"/>
                    <a:pt x="287" y="124"/>
                    <a:pt x="287" y="123"/>
                  </a:cubicBezTo>
                  <a:cubicBezTo>
                    <a:pt x="288" y="123"/>
                    <a:pt x="287" y="121"/>
                    <a:pt x="287" y="121"/>
                  </a:cubicBezTo>
                  <a:cubicBezTo>
                    <a:pt x="283" y="120"/>
                    <a:pt x="277" y="120"/>
                    <a:pt x="272" y="120"/>
                  </a:cubicBezTo>
                  <a:cubicBezTo>
                    <a:pt x="272" y="123"/>
                    <a:pt x="272" y="123"/>
                    <a:pt x="272" y="123"/>
                  </a:cubicBezTo>
                  <a:cubicBezTo>
                    <a:pt x="273" y="124"/>
                    <a:pt x="275" y="123"/>
                    <a:pt x="274" y="124"/>
                  </a:cubicBezTo>
                  <a:cubicBezTo>
                    <a:pt x="274" y="148"/>
                    <a:pt x="274" y="148"/>
                    <a:pt x="274" y="148"/>
                  </a:cubicBezTo>
                  <a:cubicBezTo>
                    <a:pt x="274" y="150"/>
                    <a:pt x="274" y="151"/>
                    <a:pt x="273" y="151"/>
                  </a:cubicBezTo>
                  <a:cubicBezTo>
                    <a:pt x="271" y="152"/>
                    <a:pt x="272" y="150"/>
                    <a:pt x="271" y="149"/>
                  </a:cubicBezTo>
                  <a:cubicBezTo>
                    <a:pt x="268" y="142"/>
                    <a:pt x="265" y="135"/>
                    <a:pt x="262" y="127"/>
                  </a:cubicBezTo>
                  <a:cubicBezTo>
                    <a:pt x="261" y="126"/>
                    <a:pt x="262" y="126"/>
                    <a:pt x="263" y="126"/>
                  </a:cubicBezTo>
                  <a:cubicBezTo>
                    <a:pt x="263" y="125"/>
                    <a:pt x="262" y="124"/>
                    <a:pt x="262" y="123"/>
                  </a:cubicBezTo>
                  <a:cubicBezTo>
                    <a:pt x="261" y="122"/>
                    <a:pt x="260" y="124"/>
                    <a:pt x="259" y="124"/>
                  </a:cubicBezTo>
                  <a:cubicBezTo>
                    <a:pt x="256" y="125"/>
                    <a:pt x="252" y="126"/>
                    <a:pt x="249" y="128"/>
                  </a:cubicBezTo>
                  <a:cubicBezTo>
                    <a:pt x="249" y="129"/>
                    <a:pt x="249" y="130"/>
                    <a:pt x="250" y="131"/>
                  </a:cubicBezTo>
                  <a:cubicBezTo>
                    <a:pt x="250" y="132"/>
                    <a:pt x="252" y="130"/>
                    <a:pt x="252" y="131"/>
                  </a:cubicBezTo>
                  <a:cubicBezTo>
                    <a:pt x="255" y="139"/>
                    <a:pt x="258" y="146"/>
                    <a:pt x="260" y="153"/>
                  </a:cubicBezTo>
                  <a:cubicBezTo>
                    <a:pt x="261" y="154"/>
                    <a:pt x="262" y="155"/>
                    <a:pt x="261" y="156"/>
                  </a:cubicBezTo>
                  <a:cubicBezTo>
                    <a:pt x="259" y="157"/>
                    <a:pt x="257" y="154"/>
                    <a:pt x="256" y="153"/>
                  </a:cubicBezTo>
                  <a:cubicBezTo>
                    <a:pt x="252" y="149"/>
                    <a:pt x="248" y="145"/>
                    <a:pt x="244" y="141"/>
                  </a:cubicBezTo>
                  <a:cubicBezTo>
                    <a:pt x="243" y="140"/>
                    <a:pt x="240" y="139"/>
                    <a:pt x="242" y="137"/>
                  </a:cubicBezTo>
                  <a:cubicBezTo>
                    <a:pt x="242" y="136"/>
                    <a:pt x="241" y="136"/>
                    <a:pt x="240" y="135"/>
                  </a:cubicBezTo>
                  <a:cubicBezTo>
                    <a:pt x="239" y="135"/>
                    <a:pt x="238" y="136"/>
                    <a:pt x="237" y="137"/>
                  </a:cubicBezTo>
                  <a:cubicBezTo>
                    <a:pt x="234" y="139"/>
                    <a:pt x="232" y="142"/>
                    <a:pt x="230" y="145"/>
                  </a:cubicBezTo>
                  <a:cubicBezTo>
                    <a:pt x="230" y="146"/>
                    <a:pt x="231" y="146"/>
                    <a:pt x="232" y="147"/>
                  </a:cubicBezTo>
                  <a:cubicBezTo>
                    <a:pt x="233" y="147"/>
                    <a:pt x="233" y="146"/>
                    <a:pt x="233" y="146"/>
                  </a:cubicBezTo>
                  <a:cubicBezTo>
                    <a:pt x="234" y="146"/>
                    <a:pt x="235" y="147"/>
                    <a:pt x="236" y="148"/>
                  </a:cubicBezTo>
                  <a:cubicBezTo>
                    <a:pt x="241" y="153"/>
                    <a:pt x="246" y="159"/>
                    <a:pt x="250" y="163"/>
                  </a:cubicBezTo>
                  <a:cubicBezTo>
                    <a:pt x="251" y="163"/>
                    <a:pt x="252" y="164"/>
                    <a:pt x="251" y="166"/>
                  </a:cubicBezTo>
                  <a:cubicBezTo>
                    <a:pt x="250" y="167"/>
                    <a:pt x="250" y="166"/>
                    <a:pt x="248" y="166"/>
                  </a:cubicBezTo>
                  <a:cubicBezTo>
                    <a:pt x="242" y="162"/>
                    <a:pt x="234" y="160"/>
                    <a:pt x="227" y="157"/>
                  </a:cubicBezTo>
                  <a:cubicBezTo>
                    <a:pt x="226" y="157"/>
                    <a:pt x="227" y="156"/>
                    <a:pt x="227" y="155"/>
                  </a:cubicBezTo>
                  <a:cubicBezTo>
                    <a:pt x="226" y="154"/>
                    <a:pt x="225" y="155"/>
                    <a:pt x="225" y="154"/>
                  </a:cubicBezTo>
                  <a:cubicBezTo>
                    <a:pt x="223" y="154"/>
                    <a:pt x="224" y="156"/>
                    <a:pt x="223" y="156"/>
                  </a:cubicBezTo>
                  <a:cubicBezTo>
                    <a:pt x="222" y="160"/>
                    <a:pt x="220" y="163"/>
                    <a:pt x="219" y="167"/>
                  </a:cubicBezTo>
                  <a:cubicBezTo>
                    <a:pt x="220" y="167"/>
                    <a:pt x="221" y="168"/>
                    <a:pt x="221" y="168"/>
                  </a:cubicBezTo>
                  <a:cubicBezTo>
                    <a:pt x="222" y="168"/>
                    <a:pt x="222" y="166"/>
                    <a:pt x="224" y="167"/>
                  </a:cubicBezTo>
                  <a:cubicBezTo>
                    <a:pt x="230" y="170"/>
                    <a:pt x="237" y="173"/>
                    <a:pt x="244" y="175"/>
                  </a:cubicBezTo>
                  <a:cubicBezTo>
                    <a:pt x="244" y="176"/>
                    <a:pt x="247" y="176"/>
                    <a:pt x="246" y="177"/>
                  </a:cubicBezTo>
                  <a:cubicBezTo>
                    <a:pt x="246" y="180"/>
                    <a:pt x="242" y="179"/>
                    <a:pt x="241" y="179"/>
                  </a:cubicBezTo>
                  <a:cubicBezTo>
                    <a:pt x="233" y="179"/>
                    <a:pt x="225" y="179"/>
                    <a:pt x="219" y="179"/>
                  </a:cubicBezTo>
                  <a:cubicBezTo>
                    <a:pt x="217" y="180"/>
                    <a:pt x="218" y="178"/>
                    <a:pt x="217" y="178"/>
                  </a:cubicBezTo>
                  <a:cubicBezTo>
                    <a:pt x="207" y="178"/>
                    <a:pt x="195" y="177"/>
                    <a:pt x="185" y="178"/>
                  </a:cubicBezTo>
                  <a:cubicBezTo>
                    <a:pt x="183" y="179"/>
                    <a:pt x="182" y="180"/>
                    <a:pt x="181" y="182"/>
                  </a:cubicBezTo>
                  <a:cubicBezTo>
                    <a:pt x="182" y="228"/>
                    <a:pt x="181" y="276"/>
                    <a:pt x="182" y="321"/>
                  </a:cubicBezTo>
                  <a:cubicBezTo>
                    <a:pt x="182" y="323"/>
                    <a:pt x="183" y="323"/>
                    <a:pt x="184" y="324"/>
                  </a:cubicBezTo>
                  <a:cubicBezTo>
                    <a:pt x="213" y="325"/>
                    <a:pt x="243" y="324"/>
                    <a:pt x="273" y="325"/>
                  </a:cubicBezTo>
                  <a:cubicBezTo>
                    <a:pt x="273" y="339"/>
                    <a:pt x="273" y="339"/>
                    <a:pt x="273" y="339"/>
                  </a:cubicBezTo>
                  <a:cubicBezTo>
                    <a:pt x="264" y="340"/>
                    <a:pt x="254" y="339"/>
                    <a:pt x="246" y="340"/>
                  </a:cubicBezTo>
                  <a:cubicBezTo>
                    <a:pt x="244" y="341"/>
                    <a:pt x="243" y="342"/>
                    <a:pt x="242" y="344"/>
                  </a:cubicBezTo>
                  <a:cubicBezTo>
                    <a:pt x="242" y="371"/>
                    <a:pt x="242" y="371"/>
                    <a:pt x="242" y="371"/>
                  </a:cubicBezTo>
                  <a:cubicBezTo>
                    <a:pt x="228" y="371"/>
                    <a:pt x="214" y="370"/>
                    <a:pt x="201" y="371"/>
                  </a:cubicBezTo>
                  <a:cubicBezTo>
                    <a:pt x="201" y="406"/>
                    <a:pt x="201" y="406"/>
                    <a:pt x="201" y="406"/>
                  </a:cubicBezTo>
                  <a:cubicBezTo>
                    <a:pt x="202" y="409"/>
                    <a:pt x="205" y="410"/>
                    <a:pt x="206" y="413"/>
                  </a:cubicBezTo>
                  <a:cubicBezTo>
                    <a:pt x="208" y="415"/>
                    <a:pt x="211" y="417"/>
                    <a:pt x="213" y="419"/>
                  </a:cubicBezTo>
                  <a:cubicBezTo>
                    <a:pt x="213" y="427"/>
                    <a:pt x="212" y="435"/>
                    <a:pt x="212" y="443"/>
                  </a:cubicBezTo>
                  <a:cubicBezTo>
                    <a:pt x="216" y="445"/>
                    <a:pt x="221" y="447"/>
                    <a:pt x="226" y="448"/>
                  </a:cubicBezTo>
                  <a:cubicBezTo>
                    <a:pt x="226" y="481"/>
                    <a:pt x="226" y="481"/>
                    <a:pt x="226" y="481"/>
                  </a:cubicBezTo>
                  <a:cubicBezTo>
                    <a:pt x="203" y="485"/>
                    <a:pt x="181" y="491"/>
                    <a:pt x="161" y="498"/>
                  </a:cubicBezTo>
                  <a:cubicBezTo>
                    <a:pt x="159" y="497"/>
                    <a:pt x="158" y="494"/>
                    <a:pt x="156" y="493"/>
                  </a:cubicBezTo>
                  <a:cubicBezTo>
                    <a:pt x="152" y="489"/>
                    <a:pt x="148" y="485"/>
                    <a:pt x="145" y="481"/>
                  </a:cubicBezTo>
                  <a:cubicBezTo>
                    <a:pt x="144" y="480"/>
                    <a:pt x="143" y="479"/>
                    <a:pt x="142" y="478"/>
                  </a:cubicBezTo>
                  <a:cubicBezTo>
                    <a:pt x="142" y="477"/>
                    <a:pt x="142" y="477"/>
                    <a:pt x="141" y="477"/>
                  </a:cubicBezTo>
                  <a:cubicBezTo>
                    <a:pt x="141" y="476"/>
                    <a:pt x="141" y="476"/>
                    <a:pt x="140" y="475"/>
                  </a:cubicBezTo>
                  <a:cubicBezTo>
                    <a:pt x="139" y="474"/>
                    <a:pt x="138" y="473"/>
                    <a:pt x="137" y="472"/>
                  </a:cubicBezTo>
                  <a:cubicBezTo>
                    <a:pt x="136" y="471"/>
                    <a:pt x="136" y="470"/>
                    <a:pt x="135" y="469"/>
                  </a:cubicBezTo>
                  <a:cubicBezTo>
                    <a:pt x="134" y="467"/>
                    <a:pt x="132" y="465"/>
                    <a:pt x="131" y="464"/>
                  </a:cubicBezTo>
                  <a:cubicBezTo>
                    <a:pt x="131" y="463"/>
                    <a:pt x="131" y="463"/>
                    <a:pt x="131" y="462"/>
                  </a:cubicBezTo>
                  <a:cubicBezTo>
                    <a:pt x="131" y="462"/>
                    <a:pt x="130" y="462"/>
                    <a:pt x="130" y="462"/>
                  </a:cubicBezTo>
                  <a:cubicBezTo>
                    <a:pt x="130" y="462"/>
                    <a:pt x="130" y="461"/>
                    <a:pt x="130" y="461"/>
                  </a:cubicBezTo>
                  <a:cubicBezTo>
                    <a:pt x="129" y="460"/>
                    <a:pt x="129" y="460"/>
                    <a:pt x="128" y="459"/>
                  </a:cubicBezTo>
                  <a:cubicBezTo>
                    <a:pt x="114" y="439"/>
                    <a:pt x="102" y="415"/>
                    <a:pt x="95" y="387"/>
                  </a:cubicBezTo>
                  <a:cubicBezTo>
                    <a:pt x="88" y="363"/>
                    <a:pt x="85" y="333"/>
                    <a:pt x="87" y="307"/>
                  </a:cubicBezTo>
                  <a:cubicBezTo>
                    <a:pt x="87" y="303"/>
                    <a:pt x="88" y="300"/>
                    <a:pt x="88" y="297"/>
                  </a:cubicBezTo>
                  <a:cubicBezTo>
                    <a:pt x="90" y="287"/>
                    <a:pt x="91" y="278"/>
                    <a:pt x="93" y="269"/>
                  </a:cubicBezTo>
                  <a:cubicBezTo>
                    <a:pt x="96" y="257"/>
                    <a:pt x="100" y="246"/>
                    <a:pt x="104" y="235"/>
                  </a:cubicBezTo>
                  <a:cubicBezTo>
                    <a:pt x="121" y="194"/>
                    <a:pt x="148" y="161"/>
                    <a:pt x="182" y="135"/>
                  </a:cubicBezTo>
                  <a:cubicBezTo>
                    <a:pt x="194" y="126"/>
                    <a:pt x="208" y="117"/>
                    <a:pt x="223" y="110"/>
                  </a:cubicBezTo>
                  <a:cubicBezTo>
                    <a:pt x="227" y="108"/>
                    <a:pt x="231" y="107"/>
                    <a:pt x="235" y="105"/>
                  </a:cubicBezTo>
                  <a:cubicBezTo>
                    <a:pt x="236" y="104"/>
                    <a:pt x="237" y="104"/>
                    <a:pt x="238" y="103"/>
                  </a:cubicBezTo>
                  <a:cubicBezTo>
                    <a:pt x="240" y="103"/>
                    <a:pt x="241" y="102"/>
                    <a:pt x="243" y="102"/>
                  </a:cubicBezTo>
                  <a:cubicBezTo>
                    <a:pt x="245" y="101"/>
                    <a:pt x="248" y="100"/>
                    <a:pt x="251" y="99"/>
                  </a:cubicBezTo>
                  <a:cubicBezTo>
                    <a:pt x="252" y="98"/>
                    <a:pt x="254" y="98"/>
                    <a:pt x="255" y="98"/>
                  </a:cubicBezTo>
                  <a:cubicBezTo>
                    <a:pt x="256" y="97"/>
                    <a:pt x="258" y="97"/>
                    <a:pt x="259" y="96"/>
                  </a:cubicBezTo>
                  <a:cubicBezTo>
                    <a:pt x="260" y="96"/>
                    <a:pt x="261" y="96"/>
                    <a:pt x="261" y="96"/>
                  </a:cubicBezTo>
                  <a:cubicBezTo>
                    <a:pt x="262" y="96"/>
                    <a:pt x="263" y="95"/>
                    <a:pt x="264" y="95"/>
                  </a:cubicBezTo>
                  <a:cubicBezTo>
                    <a:pt x="285" y="89"/>
                    <a:pt x="311" y="86"/>
                    <a:pt x="337" y="87"/>
                  </a:cubicBezTo>
                  <a:cubicBezTo>
                    <a:pt x="355" y="88"/>
                    <a:pt x="371" y="91"/>
                    <a:pt x="387" y="95"/>
                  </a:cubicBezTo>
                  <a:cubicBezTo>
                    <a:pt x="410" y="102"/>
                    <a:pt x="430" y="111"/>
                    <a:pt x="448" y="122"/>
                  </a:cubicBezTo>
                  <a:cubicBezTo>
                    <a:pt x="450" y="123"/>
                    <a:pt x="453" y="125"/>
                    <a:pt x="455" y="126"/>
                  </a:cubicBezTo>
                  <a:cubicBezTo>
                    <a:pt x="455" y="126"/>
                    <a:pt x="455" y="127"/>
                    <a:pt x="455" y="127"/>
                  </a:cubicBezTo>
                  <a:cubicBezTo>
                    <a:pt x="456" y="127"/>
                    <a:pt x="456" y="127"/>
                    <a:pt x="456" y="127"/>
                  </a:cubicBezTo>
                  <a:cubicBezTo>
                    <a:pt x="456" y="127"/>
                    <a:pt x="456" y="127"/>
                    <a:pt x="457" y="127"/>
                  </a:cubicBezTo>
                  <a:cubicBezTo>
                    <a:pt x="457" y="128"/>
                    <a:pt x="458" y="128"/>
                    <a:pt x="459" y="129"/>
                  </a:cubicBezTo>
                  <a:cubicBezTo>
                    <a:pt x="459" y="129"/>
                    <a:pt x="460" y="130"/>
                    <a:pt x="460" y="130"/>
                  </a:cubicBezTo>
                  <a:cubicBezTo>
                    <a:pt x="461" y="131"/>
                    <a:pt x="463" y="132"/>
                    <a:pt x="464" y="132"/>
                  </a:cubicBezTo>
                  <a:cubicBezTo>
                    <a:pt x="464" y="132"/>
                    <a:pt x="464" y="133"/>
                    <a:pt x="464" y="133"/>
                  </a:cubicBezTo>
                  <a:cubicBezTo>
                    <a:pt x="464" y="133"/>
                    <a:pt x="465" y="133"/>
                    <a:pt x="465" y="133"/>
                  </a:cubicBezTo>
                  <a:cubicBezTo>
                    <a:pt x="465" y="133"/>
                    <a:pt x="465" y="133"/>
                    <a:pt x="465" y="134"/>
                  </a:cubicBezTo>
                  <a:cubicBezTo>
                    <a:pt x="468" y="136"/>
                    <a:pt x="471" y="137"/>
                    <a:pt x="474" y="140"/>
                  </a:cubicBezTo>
                  <a:cubicBezTo>
                    <a:pt x="475" y="141"/>
                    <a:pt x="476" y="142"/>
                    <a:pt x="477" y="143"/>
                  </a:cubicBezTo>
                  <a:cubicBezTo>
                    <a:pt x="479" y="145"/>
                    <a:pt x="481" y="147"/>
                    <a:pt x="483" y="148"/>
                  </a:cubicBezTo>
                  <a:cubicBezTo>
                    <a:pt x="485" y="149"/>
                    <a:pt x="486" y="150"/>
                    <a:pt x="487" y="151"/>
                  </a:cubicBezTo>
                  <a:cubicBezTo>
                    <a:pt x="492" y="155"/>
                    <a:pt x="496" y="160"/>
                    <a:pt x="500" y="164"/>
                  </a:cubicBezTo>
                  <a:cubicBezTo>
                    <a:pt x="503" y="168"/>
                    <a:pt x="507" y="172"/>
                    <a:pt x="510" y="176"/>
                  </a:cubicBezTo>
                  <a:cubicBezTo>
                    <a:pt x="540" y="213"/>
                    <a:pt x="562" y="263"/>
                    <a:pt x="562" y="328"/>
                  </a:cubicBezTo>
                  <a:cubicBezTo>
                    <a:pt x="562" y="363"/>
                    <a:pt x="553" y="396"/>
                    <a:pt x="541" y="423"/>
                  </a:cubicBezTo>
                  <a:cubicBezTo>
                    <a:pt x="541" y="424"/>
                    <a:pt x="541" y="425"/>
                    <a:pt x="540" y="426"/>
                  </a:cubicBezTo>
                  <a:cubicBezTo>
                    <a:pt x="538" y="432"/>
                    <a:pt x="535" y="437"/>
                    <a:pt x="532" y="442"/>
                  </a:cubicBezTo>
                  <a:cubicBezTo>
                    <a:pt x="529" y="446"/>
                    <a:pt x="526" y="450"/>
                    <a:pt x="525" y="454"/>
                  </a:cubicBezTo>
                  <a:cubicBezTo>
                    <a:pt x="525" y="454"/>
                    <a:pt x="524" y="454"/>
                    <a:pt x="524" y="454"/>
                  </a:cubicBezTo>
                  <a:cubicBezTo>
                    <a:pt x="524" y="455"/>
                    <a:pt x="524" y="455"/>
                    <a:pt x="524" y="455"/>
                  </a:cubicBezTo>
                  <a:cubicBezTo>
                    <a:pt x="524" y="455"/>
                    <a:pt x="523" y="455"/>
                    <a:pt x="523" y="456"/>
                  </a:cubicBezTo>
                  <a:cubicBezTo>
                    <a:pt x="523" y="456"/>
                    <a:pt x="523" y="456"/>
                    <a:pt x="523" y="456"/>
                  </a:cubicBezTo>
                  <a:cubicBezTo>
                    <a:pt x="523" y="456"/>
                    <a:pt x="522" y="457"/>
                    <a:pt x="522" y="457"/>
                  </a:cubicBezTo>
                  <a:cubicBezTo>
                    <a:pt x="522" y="457"/>
                    <a:pt x="522" y="457"/>
                    <a:pt x="522" y="458"/>
                  </a:cubicBezTo>
                  <a:cubicBezTo>
                    <a:pt x="522" y="458"/>
                    <a:pt x="522" y="458"/>
                    <a:pt x="522" y="458"/>
                  </a:cubicBezTo>
                  <a:cubicBezTo>
                    <a:pt x="521" y="458"/>
                    <a:pt x="522" y="458"/>
                    <a:pt x="522" y="459"/>
                  </a:cubicBezTo>
                  <a:cubicBezTo>
                    <a:pt x="522" y="459"/>
                    <a:pt x="521" y="459"/>
                    <a:pt x="521" y="459"/>
                  </a:cubicBezTo>
                  <a:cubicBezTo>
                    <a:pt x="521" y="459"/>
                    <a:pt x="521" y="460"/>
                    <a:pt x="521" y="460"/>
                  </a:cubicBezTo>
                  <a:cubicBezTo>
                    <a:pt x="521" y="460"/>
                    <a:pt x="520" y="460"/>
                    <a:pt x="520" y="460"/>
                  </a:cubicBezTo>
                  <a:cubicBezTo>
                    <a:pt x="520" y="461"/>
                    <a:pt x="519" y="462"/>
                    <a:pt x="519" y="462"/>
                  </a:cubicBezTo>
                  <a:cubicBezTo>
                    <a:pt x="518" y="463"/>
                    <a:pt x="518" y="464"/>
                    <a:pt x="517" y="464"/>
                  </a:cubicBezTo>
                  <a:cubicBezTo>
                    <a:pt x="517" y="465"/>
                    <a:pt x="517" y="465"/>
                    <a:pt x="517" y="466"/>
                  </a:cubicBezTo>
                  <a:cubicBezTo>
                    <a:pt x="516" y="467"/>
                    <a:pt x="515" y="468"/>
                    <a:pt x="514" y="469"/>
                  </a:cubicBezTo>
                  <a:cubicBezTo>
                    <a:pt x="513" y="470"/>
                    <a:pt x="512" y="471"/>
                    <a:pt x="511" y="473"/>
                  </a:cubicBezTo>
                  <a:cubicBezTo>
                    <a:pt x="509" y="475"/>
                    <a:pt x="507" y="477"/>
                    <a:pt x="506" y="479"/>
                  </a:cubicBezTo>
                  <a:cubicBezTo>
                    <a:pt x="506" y="479"/>
                    <a:pt x="505" y="479"/>
                    <a:pt x="505" y="480"/>
                  </a:cubicBezTo>
                  <a:cubicBezTo>
                    <a:pt x="501" y="484"/>
                    <a:pt x="498" y="488"/>
                    <a:pt x="494" y="492"/>
                  </a:cubicBezTo>
                  <a:cubicBezTo>
                    <a:pt x="474" y="512"/>
                    <a:pt x="452" y="528"/>
                    <a:pt x="426" y="540"/>
                  </a:cubicBezTo>
                  <a:cubicBezTo>
                    <a:pt x="399" y="553"/>
                    <a:pt x="368" y="561"/>
                    <a:pt x="332" y="563"/>
                  </a:cubicBezTo>
                  <a:cubicBezTo>
                    <a:pt x="327" y="563"/>
                    <a:pt x="322" y="563"/>
                    <a:pt x="318" y="563"/>
                  </a:cubicBezTo>
                  <a:cubicBezTo>
                    <a:pt x="270" y="561"/>
                    <a:pt x="235" y="548"/>
                    <a:pt x="204" y="530"/>
                  </a:cubicBezTo>
                  <a:cubicBezTo>
                    <a:pt x="205" y="529"/>
                    <a:pt x="208" y="528"/>
                    <a:pt x="210" y="527"/>
                  </a:cubicBezTo>
                  <a:cubicBezTo>
                    <a:pt x="212" y="526"/>
                    <a:pt x="213" y="526"/>
                    <a:pt x="214" y="525"/>
                  </a:cubicBezTo>
                  <a:cubicBezTo>
                    <a:pt x="241" y="513"/>
                    <a:pt x="270" y="504"/>
                    <a:pt x="301" y="497"/>
                  </a:cubicBezTo>
                  <a:cubicBezTo>
                    <a:pt x="319" y="494"/>
                    <a:pt x="338" y="490"/>
                    <a:pt x="357" y="488"/>
                  </a:cubicBezTo>
                  <a:cubicBezTo>
                    <a:pt x="377" y="486"/>
                    <a:pt x="397" y="485"/>
                    <a:pt x="418" y="484"/>
                  </a:cubicBezTo>
                  <a:cubicBezTo>
                    <a:pt x="422" y="484"/>
                    <a:pt x="425" y="484"/>
                    <a:pt x="429" y="484"/>
                  </a:cubicBezTo>
                  <a:cubicBezTo>
                    <a:pt x="449" y="483"/>
                    <a:pt x="469" y="483"/>
                    <a:pt x="488" y="486"/>
                  </a:cubicBezTo>
                  <a:cubicBezTo>
                    <a:pt x="488" y="484"/>
                    <a:pt x="486" y="485"/>
                    <a:pt x="485" y="485"/>
                  </a:cubicBezTo>
                  <a:cubicBezTo>
                    <a:pt x="478" y="483"/>
                    <a:pt x="470" y="481"/>
                    <a:pt x="462" y="480"/>
                  </a:cubicBezTo>
                  <a:cubicBezTo>
                    <a:pt x="453" y="478"/>
                    <a:pt x="444" y="477"/>
                    <a:pt x="435" y="476"/>
                  </a:cubicBezTo>
                  <a:cubicBezTo>
                    <a:pt x="437" y="459"/>
                    <a:pt x="441" y="443"/>
                    <a:pt x="444" y="427"/>
                  </a:cubicBezTo>
                  <a:cubicBezTo>
                    <a:pt x="443" y="421"/>
                    <a:pt x="442" y="415"/>
                    <a:pt x="441" y="409"/>
                  </a:cubicBezTo>
                  <a:cubicBezTo>
                    <a:pt x="440" y="411"/>
                    <a:pt x="440" y="414"/>
                    <a:pt x="439" y="417"/>
                  </a:cubicBezTo>
                  <a:cubicBezTo>
                    <a:pt x="438" y="423"/>
                    <a:pt x="436" y="429"/>
                    <a:pt x="435" y="434"/>
                  </a:cubicBezTo>
                  <a:cubicBezTo>
                    <a:pt x="434" y="437"/>
                    <a:pt x="434" y="440"/>
                    <a:pt x="433" y="442"/>
                  </a:cubicBezTo>
                  <a:cubicBezTo>
                    <a:pt x="430" y="442"/>
                    <a:pt x="430" y="442"/>
                    <a:pt x="430" y="442"/>
                  </a:cubicBezTo>
                  <a:cubicBezTo>
                    <a:pt x="428" y="443"/>
                    <a:pt x="429" y="440"/>
                    <a:pt x="429" y="439"/>
                  </a:cubicBezTo>
                  <a:cubicBezTo>
                    <a:pt x="429" y="413"/>
                    <a:pt x="429" y="413"/>
                    <a:pt x="429" y="413"/>
                  </a:cubicBezTo>
                  <a:cubicBezTo>
                    <a:pt x="430" y="411"/>
                    <a:pt x="431" y="411"/>
                    <a:pt x="432" y="410"/>
                  </a:cubicBezTo>
                  <a:cubicBezTo>
                    <a:pt x="435" y="407"/>
                    <a:pt x="439" y="405"/>
                    <a:pt x="442" y="403"/>
                  </a:cubicBezTo>
                  <a:cubicBezTo>
                    <a:pt x="444" y="385"/>
                    <a:pt x="446" y="367"/>
                    <a:pt x="448" y="349"/>
                  </a:cubicBezTo>
                  <a:cubicBezTo>
                    <a:pt x="444" y="358"/>
                    <a:pt x="440" y="367"/>
                    <a:pt x="436" y="376"/>
                  </a:cubicBezTo>
                  <a:cubicBezTo>
                    <a:pt x="432" y="385"/>
                    <a:pt x="428" y="394"/>
                    <a:pt x="425" y="403"/>
                  </a:cubicBezTo>
                  <a:cubicBezTo>
                    <a:pt x="424" y="404"/>
                    <a:pt x="424" y="407"/>
                    <a:pt x="422" y="406"/>
                  </a:cubicBezTo>
                  <a:cubicBezTo>
                    <a:pt x="421" y="407"/>
                    <a:pt x="422" y="404"/>
                    <a:pt x="421" y="403"/>
                  </a:cubicBezTo>
                  <a:cubicBezTo>
                    <a:pt x="421" y="387"/>
                    <a:pt x="421" y="387"/>
                    <a:pt x="421" y="387"/>
                  </a:cubicBezTo>
                  <a:cubicBezTo>
                    <a:pt x="421" y="382"/>
                    <a:pt x="421" y="377"/>
                    <a:pt x="421" y="371"/>
                  </a:cubicBezTo>
                  <a:cubicBezTo>
                    <a:pt x="422" y="370"/>
                    <a:pt x="423" y="368"/>
                    <a:pt x="423" y="366"/>
                  </a:cubicBezTo>
                  <a:cubicBezTo>
                    <a:pt x="425" y="360"/>
                    <a:pt x="427" y="355"/>
                    <a:pt x="429" y="350"/>
                  </a:cubicBezTo>
                  <a:cubicBezTo>
                    <a:pt x="429" y="348"/>
                    <a:pt x="427" y="348"/>
                    <a:pt x="426" y="346"/>
                  </a:cubicBezTo>
                  <a:cubicBezTo>
                    <a:pt x="425" y="345"/>
                    <a:pt x="424" y="344"/>
                    <a:pt x="422" y="343"/>
                  </a:cubicBezTo>
                  <a:cubicBezTo>
                    <a:pt x="420" y="341"/>
                    <a:pt x="417" y="339"/>
                    <a:pt x="415" y="336"/>
                  </a:cubicBezTo>
                  <a:cubicBezTo>
                    <a:pt x="418" y="332"/>
                    <a:pt x="422" y="328"/>
                    <a:pt x="426" y="325"/>
                  </a:cubicBezTo>
                  <a:cubicBezTo>
                    <a:pt x="427" y="323"/>
                    <a:pt x="428" y="321"/>
                    <a:pt x="430" y="321"/>
                  </a:cubicBezTo>
                  <a:cubicBezTo>
                    <a:pt x="431" y="322"/>
                    <a:pt x="432" y="323"/>
                    <a:pt x="433" y="323"/>
                  </a:cubicBezTo>
                  <a:cubicBezTo>
                    <a:pt x="432" y="328"/>
                    <a:pt x="429" y="331"/>
                    <a:pt x="428" y="335"/>
                  </a:cubicBezTo>
                  <a:cubicBezTo>
                    <a:pt x="428" y="337"/>
                    <a:pt x="430" y="338"/>
                    <a:pt x="431" y="339"/>
                  </a:cubicBezTo>
                  <a:cubicBezTo>
                    <a:pt x="432" y="340"/>
                    <a:pt x="434" y="341"/>
                    <a:pt x="435" y="342"/>
                  </a:cubicBezTo>
                  <a:cubicBezTo>
                    <a:pt x="437" y="344"/>
                    <a:pt x="440" y="346"/>
                    <a:pt x="443" y="349"/>
                  </a:cubicBezTo>
                  <a:cubicBezTo>
                    <a:pt x="450" y="343"/>
                    <a:pt x="457" y="338"/>
                    <a:pt x="465" y="332"/>
                  </a:cubicBezTo>
                  <a:cubicBezTo>
                    <a:pt x="470" y="313"/>
                    <a:pt x="476" y="295"/>
                    <a:pt x="481" y="276"/>
                  </a:cubicBezTo>
                  <a:cubicBezTo>
                    <a:pt x="479" y="268"/>
                    <a:pt x="477" y="260"/>
                    <a:pt x="474" y="252"/>
                  </a:cubicBezTo>
                  <a:cubicBezTo>
                    <a:pt x="474" y="251"/>
                    <a:pt x="475" y="251"/>
                    <a:pt x="476" y="251"/>
                  </a:cubicBezTo>
                  <a:cubicBezTo>
                    <a:pt x="477" y="250"/>
                    <a:pt x="478" y="249"/>
                    <a:pt x="479" y="248"/>
                  </a:cubicBezTo>
                  <a:cubicBezTo>
                    <a:pt x="482" y="246"/>
                    <a:pt x="485" y="244"/>
                    <a:pt x="486" y="240"/>
                  </a:cubicBezTo>
                  <a:cubicBezTo>
                    <a:pt x="484" y="239"/>
                    <a:pt x="483" y="240"/>
                    <a:pt x="482" y="241"/>
                  </a:cubicBezTo>
                  <a:cubicBezTo>
                    <a:pt x="477" y="243"/>
                    <a:pt x="473" y="244"/>
                    <a:pt x="469" y="246"/>
                  </a:cubicBezTo>
                  <a:cubicBezTo>
                    <a:pt x="468" y="252"/>
                    <a:pt x="468" y="258"/>
                    <a:pt x="467" y="264"/>
                  </a:cubicBezTo>
                  <a:cubicBezTo>
                    <a:pt x="467" y="270"/>
                    <a:pt x="466" y="276"/>
                    <a:pt x="465" y="282"/>
                  </a:cubicBezTo>
                  <a:cubicBezTo>
                    <a:pt x="456" y="282"/>
                    <a:pt x="447" y="283"/>
                    <a:pt x="438" y="283"/>
                  </a:cubicBezTo>
                  <a:cubicBezTo>
                    <a:pt x="442" y="285"/>
                    <a:pt x="447" y="285"/>
                    <a:pt x="452" y="285"/>
                  </a:cubicBezTo>
                  <a:cubicBezTo>
                    <a:pt x="456" y="286"/>
                    <a:pt x="461" y="286"/>
                    <a:pt x="466" y="287"/>
                  </a:cubicBezTo>
                  <a:cubicBezTo>
                    <a:pt x="456" y="289"/>
                    <a:pt x="446" y="290"/>
                    <a:pt x="436" y="292"/>
                  </a:cubicBezTo>
                  <a:cubicBezTo>
                    <a:pt x="437" y="295"/>
                    <a:pt x="438" y="299"/>
                    <a:pt x="440" y="302"/>
                  </a:cubicBezTo>
                  <a:cubicBezTo>
                    <a:pt x="439" y="304"/>
                    <a:pt x="438" y="305"/>
                    <a:pt x="437" y="306"/>
                  </a:cubicBezTo>
                  <a:cubicBezTo>
                    <a:pt x="436" y="307"/>
                    <a:pt x="435" y="308"/>
                    <a:pt x="434" y="309"/>
                  </a:cubicBezTo>
                  <a:cubicBezTo>
                    <a:pt x="429" y="308"/>
                    <a:pt x="425" y="306"/>
                    <a:pt x="421" y="304"/>
                  </a:cubicBezTo>
                  <a:cubicBezTo>
                    <a:pt x="416" y="306"/>
                    <a:pt x="412" y="308"/>
                    <a:pt x="409" y="311"/>
                  </a:cubicBezTo>
                  <a:cubicBezTo>
                    <a:pt x="407" y="310"/>
                    <a:pt x="406" y="308"/>
                    <a:pt x="405" y="307"/>
                  </a:cubicBezTo>
                  <a:cubicBezTo>
                    <a:pt x="404" y="306"/>
                    <a:pt x="403" y="304"/>
                    <a:pt x="402" y="303"/>
                  </a:cubicBezTo>
                  <a:cubicBezTo>
                    <a:pt x="404" y="296"/>
                    <a:pt x="406" y="290"/>
                    <a:pt x="409" y="284"/>
                  </a:cubicBezTo>
                  <a:cubicBezTo>
                    <a:pt x="409" y="283"/>
                    <a:pt x="410" y="280"/>
                    <a:pt x="410" y="279"/>
                  </a:cubicBezTo>
                  <a:cubicBezTo>
                    <a:pt x="411" y="279"/>
                    <a:pt x="412" y="280"/>
                    <a:pt x="413" y="279"/>
                  </a:cubicBezTo>
                  <a:cubicBezTo>
                    <a:pt x="414" y="279"/>
                    <a:pt x="413" y="281"/>
                    <a:pt x="413" y="281"/>
                  </a:cubicBezTo>
                  <a:cubicBezTo>
                    <a:pt x="415" y="287"/>
                    <a:pt x="415" y="294"/>
                    <a:pt x="415" y="300"/>
                  </a:cubicBezTo>
                  <a:cubicBezTo>
                    <a:pt x="417" y="295"/>
                    <a:pt x="419" y="290"/>
                    <a:pt x="420" y="285"/>
                  </a:cubicBezTo>
                  <a:cubicBezTo>
                    <a:pt x="424" y="286"/>
                    <a:pt x="429" y="285"/>
                    <a:pt x="433" y="286"/>
                  </a:cubicBezTo>
                  <a:cubicBezTo>
                    <a:pt x="432" y="285"/>
                    <a:pt x="430" y="285"/>
                    <a:pt x="428" y="284"/>
                  </a:cubicBezTo>
                  <a:cubicBezTo>
                    <a:pt x="430" y="283"/>
                    <a:pt x="433" y="284"/>
                    <a:pt x="436" y="283"/>
                  </a:cubicBezTo>
                  <a:cubicBezTo>
                    <a:pt x="435" y="281"/>
                    <a:pt x="434" y="280"/>
                    <a:pt x="433" y="277"/>
                  </a:cubicBezTo>
                  <a:cubicBezTo>
                    <a:pt x="435" y="275"/>
                    <a:pt x="437" y="273"/>
                    <a:pt x="438" y="271"/>
                  </a:cubicBezTo>
                  <a:cubicBezTo>
                    <a:pt x="439" y="265"/>
                    <a:pt x="439" y="260"/>
                    <a:pt x="440" y="255"/>
                  </a:cubicBezTo>
                  <a:cubicBezTo>
                    <a:pt x="438" y="253"/>
                    <a:pt x="436" y="252"/>
                    <a:pt x="434" y="250"/>
                  </a:cubicBezTo>
                  <a:cubicBezTo>
                    <a:pt x="432" y="248"/>
                    <a:pt x="431" y="247"/>
                    <a:pt x="428" y="245"/>
                  </a:cubicBezTo>
                  <a:cubicBezTo>
                    <a:pt x="426" y="246"/>
                    <a:pt x="424" y="246"/>
                    <a:pt x="421" y="246"/>
                  </a:cubicBezTo>
                  <a:cubicBezTo>
                    <a:pt x="418" y="247"/>
                    <a:pt x="417" y="249"/>
                    <a:pt x="415" y="250"/>
                  </a:cubicBezTo>
                  <a:cubicBezTo>
                    <a:pt x="414" y="251"/>
                    <a:pt x="414" y="252"/>
                    <a:pt x="413" y="251"/>
                  </a:cubicBezTo>
                  <a:cubicBezTo>
                    <a:pt x="413" y="240"/>
                    <a:pt x="412" y="227"/>
                    <a:pt x="412" y="215"/>
                  </a:cubicBezTo>
                  <a:cubicBezTo>
                    <a:pt x="412" y="213"/>
                    <a:pt x="412" y="211"/>
                    <a:pt x="411" y="209"/>
                  </a:cubicBezTo>
                  <a:cubicBezTo>
                    <a:pt x="411" y="208"/>
                    <a:pt x="411" y="207"/>
                    <a:pt x="410" y="207"/>
                  </a:cubicBezTo>
                  <a:cubicBezTo>
                    <a:pt x="410" y="206"/>
                    <a:pt x="410" y="205"/>
                    <a:pt x="409" y="205"/>
                  </a:cubicBezTo>
                  <a:cubicBezTo>
                    <a:pt x="408" y="228"/>
                    <a:pt x="407" y="253"/>
                    <a:pt x="407" y="277"/>
                  </a:cubicBezTo>
                  <a:cubicBezTo>
                    <a:pt x="405" y="281"/>
                    <a:pt x="403" y="283"/>
                    <a:pt x="402" y="287"/>
                  </a:cubicBezTo>
                  <a:cubicBezTo>
                    <a:pt x="397" y="280"/>
                    <a:pt x="399" y="271"/>
                    <a:pt x="401" y="261"/>
                  </a:cubicBezTo>
                  <a:cubicBezTo>
                    <a:pt x="401" y="255"/>
                    <a:pt x="402" y="249"/>
                    <a:pt x="402" y="243"/>
                  </a:cubicBezTo>
                  <a:cubicBezTo>
                    <a:pt x="403" y="230"/>
                    <a:pt x="405" y="218"/>
                    <a:pt x="406" y="206"/>
                  </a:cubicBezTo>
                  <a:cubicBezTo>
                    <a:pt x="405" y="206"/>
                    <a:pt x="405" y="207"/>
                    <a:pt x="404" y="207"/>
                  </a:cubicBezTo>
                  <a:cubicBezTo>
                    <a:pt x="404" y="208"/>
                    <a:pt x="403" y="208"/>
                    <a:pt x="403" y="209"/>
                  </a:cubicBezTo>
                  <a:cubicBezTo>
                    <a:pt x="402" y="209"/>
                    <a:pt x="402" y="211"/>
                    <a:pt x="401" y="212"/>
                  </a:cubicBezTo>
                  <a:cubicBezTo>
                    <a:pt x="400" y="223"/>
                    <a:pt x="399" y="235"/>
                    <a:pt x="398" y="246"/>
                  </a:cubicBezTo>
                  <a:cubicBezTo>
                    <a:pt x="394" y="249"/>
                    <a:pt x="390" y="252"/>
                    <a:pt x="385" y="255"/>
                  </a:cubicBezTo>
                  <a:cubicBezTo>
                    <a:pt x="384" y="261"/>
                    <a:pt x="383" y="267"/>
                    <a:pt x="382" y="273"/>
                  </a:cubicBezTo>
                  <a:cubicBezTo>
                    <a:pt x="384" y="269"/>
                    <a:pt x="386" y="265"/>
                    <a:pt x="387" y="260"/>
                  </a:cubicBezTo>
                  <a:cubicBezTo>
                    <a:pt x="391" y="259"/>
                    <a:pt x="393" y="256"/>
                    <a:pt x="397" y="255"/>
                  </a:cubicBezTo>
                  <a:cubicBezTo>
                    <a:pt x="396" y="258"/>
                    <a:pt x="396" y="261"/>
                    <a:pt x="396" y="264"/>
                  </a:cubicBezTo>
                  <a:cubicBezTo>
                    <a:pt x="393" y="265"/>
                    <a:pt x="392" y="267"/>
                    <a:pt x="389" y="268"/>
                  </a:cubicBezTo>
                  <a:cubicBezTo>
                    <a:pt x="385" y="273"/>
                    <a:pt x="380" y="279"/>
                    <a:pt x="376" y="285"/>
                  </a:cubicBezTo>
                  <a:cubicBezTo>
                    <a:pt x="376" y="295"/>
                    <a:pt x="375" y="304"/>
                    <a:pt x="374" y="313"/>
                  </a:cubicBezTo>
                  <a:cubicBezTo>
                    <a:pt x="374" y="314"/>
                    <a:pt x="375" y="314"/>
                    <a:pt x="376" y="314"/>
                  </a:cubicBezTo>
                  <a:cubicBezTo>
                    <a:pt x="376" y="315"/>
                    <a:pt x="377" y="316"/>
                    <a:pt x="377" y="316"/>
                  </a:cubicBezTo>
                  <a:cubicBezTo>
                    <a:pt x="378" y="317"/>
                    <a:pt x="378" y="316"/>
                    <a:pt x="378" y="317"/>
                  </a:cubicBezTo>
                  <a:cubicBezTo>
                    <a:pt x="380" y="317"/>
                    <a:pt x="380" y="319"/>
                    <a:pt x="381" y="319"/>
                  </a:cubicBezTo>
                  <a:cubicBezTo>
                    <a:pt x="384" y="321"/>
                    <a:pt x="386" y="323"/>
                    <a:pt x="388" y="326"/>
                  </a:cubicBezTo>
                  <a:cubicBezTo>
                    <a:pt x="390" y="326"/>
                    <a:pt x="390" y="328"/>
                    <a:pt x="392" y="328"/>
                  </a:cubicBezTo>
                  <a:cubicBezTo>
                    <a:pt x="396" y="332"/>
                    <a:pt x="399" y="335"/>
                    <a:pt x="403" y="338"/>
                  </a:cubicBezTo>
                  <a:cubicBezTo>
                    <a:pt x="401" y="343"/>
                    <a:pt x="399" y="348"/>
                    <a:pt x="397" y="354"/>
                  </a:cubicBezTo>
                  <a:cubicBezTo>
                    <a:pt x="380" y="352"/>
                    <a:pt x="363" y="350"/>
                    <a:pt x="346" y="347"/>
                  </a:cubicBezTo>
                  <a:cubicBezTo>
                    <a:pt x="337" y="352"/>
                    <a:pt x="328" y="356"/>
                    <a:pt x="319" y="361"/>
                  </a:cubicBezTo>
                  <a:cubicBezTo>
                    <a:pt x="319" y="383"/>
                    <a:pt x="319" y="383"/>
                    <a:pt x="319" y="383"/>
                  </a:cubicBezTo>
                  <a:cubicBezTo>
                    <a:pt x="303" y="383"/>
                    <a:pt x="303" y="383"/>
                    <a:pt x="303" y="383"/>
                  </a:cubicBezTo>
                  <a:cubicBezTo>
                    <a:pt x="301" y="379"/>
                    <a:pt x="299" y="375"/>
                    <a:pt x="297" y="371"/>
                  </a:cubicBezTo>
                  <a:cubicBezTo>
                    <a:pt x="287" y="371"/>
                    <a:pt x="287" y="371"/>
                    <a:pt x="287" y="371"/>
                  </a:cubicBezTo>
                  <a:cubicBezTo>
                    <a:pt x="287" y="354"/>
                    <a:pt x="287" y="354"/>
                    <a:pt x="287" y="354"/>
                  </a:cubicBezTo>
                  <a:cubicBezTo>
                    <a:pt x="303" y="354"/>
                    <a:pt x="303" y="354"/>
                    <a:pt x="303" y="354"/>
                  </a:cubicBezTo>
                  <a:cubicBezTo>
                    <a:pt x="305" y="353"/>
                    <a:pt x="306" y="352"/>
                    <a:pt x="307" y="351"/>
                  </a:cubicBezTo>
                  <a:cubicBezTo>
                    <a:pt x="308" y="346"/>
                    <a:pt x="308" y="339"/>
                    <a:pt x="308" y="332"/>
                  </a:cubicBezTo>
                  <a:cubicBezTo>
                    <a:pt x="308" y="325"/>
                    <a:pt x="309" y="317"/>
                    <a:pt x="307" y="313"/>
                  </a:cubicBezTo>
                  <a:cubicBezTo>
                    <a:pt x="306" y="312"/>
                    <a:pt x="305" y="312"/>
                    <a:pt x="304" y="311"/>
                  </a:cubicBezTo>
                  <a:cubicBezTo>
                    <a:pt x="299" y="310"/>
                    <a:pt x="293" y="311"/>
                    <a:pt x="287" y="311"/>
                  </a:cubicBezTo>
                  <a:cubicBezTo>
                    <a:pt x="287" y="244"/>
                    <a:pt x="287" y="244"/>
                    <a:pt x="287" y="244"/>
                  </a:cubicBezTo>
                  <a:cubicBezTo>
                    <a:pt x="288" y="242"/>
                    <a:pt x="285" y="244"/>
                    <a:pt x="286" y="242"/>
                  </a:cubicBezTo>
                  <a:cubicBezTo>
                    <a:pt x="286" y="221"/>
                    <a:pt x="286" y="221"/>
                    <a:pt x="286" y="221"/>
                  </a:cubicBezTo>
                  <a:cubicBezTo>
                    <a:pt x="286" y="220"/>
                    <a:pt x="285" y="218"/>
                    <a:pt x="286" y="219"/>
                  </a:cubicBezTo>
                  <a:cubicBezTo>
                    <a:pt x="289" y="218"/>
                    <a:pt x="289" y="221"/>
                    <a:pt x="290" y="223"/>
                  </a:cubicBezTo>
                  <a:cubicBezTo>
                    <a:pt x="291" y="224"/>
                    <a:pt x="291" y="227"/>
                    <a:pt x="292" y="228"/>
                  </a:cubicBezTo>
                  <a:cubicBezTo>
                    <a:pt x="294" y="232"/>
                    <a:pt x="295" y="237"/>
                    <a:pt x="297" y="240"/>
                  </a:cubicBezTo>
                  <a:cubicBezTo>
                    <a:pt x="297" y="241"/>
                    <a:pt x="295" y="241"/>
                    <a:pt x="295" y="242"/>
                  </a:cubicBezTo>
                  <a:cubicBezTo>
                    <a:pt x="296" y="242"/>
                    <a:pt x="296" y="243"/>
                    <a:pt x="296" y="244"/>
                  </a:cubicBezTo>
                  <a:cubicBezTo>
                    <a:pt x="298" y="245"/>
                    <a:pt x="301" y="243"/>
                    <a:pt x="303" y="242"/>
                  </a:cubicBezTo>
                  <a:cubicBezTo>
                    <a:pt x="305" y="241"/>
                    <a:pt x="308" y="241"/>
                    <a:pt x="310" y="239"/>
                  </a:cubicBezTo>
                  <a:cubicBezTo>
                    <a:pt x="310" y="238"/>
                    <a:pt x="309" y="238"/>
                    <a:pt x="309" y="236"/>
                  </a:cubicBezTo>
                  <a:cubicBezTo>
                    <a:pt x="308" y="237"/>
                    <a:pt x="307" y="236"/>
                    <a:pt x="307" y="236"/>
                  </a:cubicBezTo>
                  <a:cubicBezTo>
                    <a:pt x="306" y="232"/>
                    <a:pt x="304" y="228"/>
                    <a:pt x="302" y="225"/>
                  </a:cubicBezTo>
                  <a:cubicBezTo>
                    <a:pt x="302" y="224"/>
                    <a:pt x="302" y="222"/>
                    <a:pt x="302" y="221"/>
                  </a:cubicBezTo>
                  <a:cubicBezTo>
                    <a:pt x="301" y="221"/>
                    <a:pt x="301" y="220"/>
                    <a:pt x="300" y="219"/>
                  </a:cubicBezTo>
                  <a:cubicBezTo>
                    <a:pt x="300" y="217"/>
                    <a:pt x="298" y="215"/>
                    <a:pt x="299" y="213"/>
                  </a:cubicBezTo>
                  <a:cubicBezTo>
                    <a:pt x="301" y="212"/>
                    <a:pt x="302" y="214"/>
                    <a:pt x="303" y="216"/>
                  </a:cubicBezTo>
                  <a:cubicBezTo>
                    <a:pt x="304" y="216"/>
                    <a:pt x="304" y="217"/>
                    <a:pt x="304" y="217"/>
                  </a:cubicBezTo>
                  <a:cubicBezTo>
                    <a:pt x="305" y="217"/>
                    <a:pt x="305" y="217"/>
                    <a:pt x="306" y="218"/>
                  </a:cubicBezTo>
                  <a:cubicBezTo>
                    <a:pt x="306" y="218"/>
                    <a:pt x="306" y="219"/>
                    <a:pt x="307" y="219"/>
                  </a:cubicBezTo>
                  <a:cubicBezTo>
                    <a:pt x="307" y="220"/>
                    <a:pt x="308" y="220"/>
                    <a:pt x="309" y="221"/>
                  </a:cubicBezTo>
                  <a:cubicBezTo>
                    <a:pt x="310" y="222"/>
                    <a:pt x="311" y="223"/>
                    <a:pt x="312" y="225"/>
                  </a:cubicBezTo>
                  <a:cubicBezTo>
                    <a:pt x="314" y="226"/>
                    <a:pt x="316" y="228"/>
                    <a:pt x="317" y="229"/>
                  </a:cubicBezTo>
                  <a:cubicBezTo>
                    <a:pt x="317" y="230"/>
                    <a:pt x="318" y="230"/>
                    <a:pt x="316" y="231"/>
                  </a:cubicBezTo>
                  <a:cubicBezTo>
                    <a:pt x="316" y="232"/>
                    <a:pt x="318" y="232"/>
                    <a:pt x="318" y="233"/>
                  </a:cubicBezTo>
                  <a:cubicBezTo>
                    <a:pt x="319" y="233"/>
                    <a:pt x="320" y="232"/>
                    <a:pt x="321" y="231"/>
                  </a:cubicBezTo>
                  <a:cubicBezTo>
                    <a:pt x="323" y="230"/>
                    <a:pt x="325" y="228"/>
                    <a:pt x="326" y="226"/>
                  </a:cubicBezTo>
                  <a:cubicBezTo>
                    <a:pt x="327" y="225"/>
                    <a:pt x="328" y="224"/>
                    <a:pt x="329" y="223"/>
                  </a:cubicBezTo>
                  <a:cubicBezTo>
                    <a:pt x="328" y="222"/>
                    <a:pt x="327" y="222"/>
                    <a:pt x="327" y="221"/>
                  </a:cubicBezTo>
                  <a:cubicBezTo>
                    <a:pt x="326" y="222"/>
                    <a:pt x="325" y="221"/>
                    <a:pt x="324" y="221"/>
                  </a:cubicBezTo>
                  <a:cubicBezTo>
                    <a:pt x="324" y="220"/>
                    <a:pt x="323" y="219"/>
                    <a:pt x="323" y="219"/>
                  </a:cubicBezTo>
                  <a:cubicBezTo>
                    <a:pt x="318" y="215"/>
                    <a:pt x="314" y="210"/>
                    <a:pt x="310" y="206"/>
                  </a:cubicBezTo>
                  <a:cubicBezTo>
                    <a:pt x="309" y="206"/>
                    <a:pt x="307" y="204"/>
                    <a:pt x="309" y="204"/>
                  </a:cubicBezTo>
                  <a:cubicBezTo>
                    <a:pt x="309" y="202"/>
                    <a:pt x="310" y="204"/>
                    <a:pt x="311" y="204"/>
                  </a:cubicBezTo>
                  <a:cubicBezTo>
                    <a:pt x="318" y="206"/>
                    <a:pt x="325" y="209"/>
                    <a:pt x="331" y="212"/>
                  </a:cubicBezTo>
                  <a:cubicBezTo>
                    <a:pt x="333" y="212"/>
                    <a:pt x="331" y="214"/>
                    <a:pt x="332" y="214"/>
                  </a:cubicBezTo>
                  <a:cubicBezTo>
                    <a:pt x="333" y="214"/>
                    <a:pt x="334" y="214"/>
                    <a:pt x="334" y="215"/>
                  </a:cubicBezTo>
                  <a:cubicBezTo>
                    <a:pt x="336" y="215"/>
                    <a:pt x="335" y="213"/>
                    <a:pt x="336" y="212"/>
                  </a:cubicBezTo>
                  <a:cubicBezTo>
                    <a:pt x="337" y="208"/>
                    <a:pt x="339" y="206"/>
                    <a:pt x="340" y="202"/>
                  </a:cubicBezTo>
                  <a:cubicBezTo>
                    <a:pt x="339" y="201"/>
                    <a:pt x="338" y="201"/>
                    <a:pt x="338" y="201"/>
                  </a:cubicBezTo>
                  <a:cubicBezTo>
                    <a:pt x="336" y="200"/>
                    <a:pt x="337" y="202"/>
                    <a:pt x="335" y="202"/>
                  </a:cubicBezTo>
                  <a:cubicBezTo>
                    <a:pt x="335" y="201"/>
                    <a:pt x="334" y="201"/>
                    <a:pt x="333" y="201"/>
                  </a:cubicBezTo>
                  <a:cubicBezTo>
                    <a:pt x="332" y="200"/>
                    <a:pt x="331" y="199"/>
                    <a:pt x="330" y="199"/>
                  </a:cubicBezTo>
                  <a:cubicBezTo>
                    <a:pt x="329" y="199"/>
                    <a:pt x="328" y="199"/>
                    <a:pt x="327" y="198"/>
                  </a:cubicBezTo>
                  <a:cubicBezTo>
                    <a:pt x="326" y="198"/>
                    <a:pt x="325" y="197"/>
                    <a:pt x="324" y="197"/>
                  </a:cubicBezTo>
                  <a:cubicBezTo>
                    <a:pt x="324" y="196"/>
                    <a:pt x="322" y="196"/>
                    <a:pt x="321" y="196"/>
                  </a:cubicBezTo>
                  <a:cubicBezTo>
                    <a:pt x="320" y="196"/>
                    <a:pt x="320" y="195"/>
                    <a:pt x="319" y="194"/>
                  </a:cubicBezTo>
                  <a:cubicBezTo>
                    <a:pt x="318" y="194"/>
                    <a:pt x="318" y="194"/>
                    <a:pt x="317" y="194"/>
                  </a:cubicBezTo>
                  <a:cubicBezTo>
                    <a:pt x="317" y="194"/>
                    <a:pt x="316" y="194"/>
                    <a:pt x="316" y="193"/>
                  </a:cubicBezTo>
                  <a:cubicBezTo>
                    <a:pt x="315" y="193"/>
                    <a:pt x="313" y="193"/>
                    <a:pt x="313" y="191"/>
                  </a:cubicBezTo>
                  <a:cubicBezTo>
                    <a:pt x="313" y="190"/>
                    <a:pt x="315" y="191"/>
                    <a:pt x="315" y="191"/>
                  </a:cubicBezTo>
                  <a:cubicBezTo>
                    <a:pt x="322" y="190"/>
                    <a:pt x="330" y="191"/>
                    <a:pt x="337" y="191"/>
                  </a:cubicBezTo>
                  <a:cubicBezTo>
                    <a:pt x="338" y="190"/>
                    <a:pt x="337" y="192"/>
                    <a:pt x="339" y="192"/>
                  </a:cubicBezTo>
                  <a:cubicBezTo>
                    <a:pt x="402" y="192"/>
                    <a:pt x="402" y="192"/>
                    <a:pt x="402" y="192"/>
                  </a:cubicBezTo>
                  <a:cubicBezTo>
                    <a:pt x="403" y="196"/>
                    <a:pt x="404" y="198"/>
                    <a:pt x="406" y="201"/>
                  </a:cubicBezTo>
                  <a:cubicBezTo>
                    <a:pt x="414" y="198"/>
                    <a:pt x="422" y="195"/>
                    <a:pt x="429" y="192"/>
                  </a:cubicBezTo>
                  <a:cubicBezTo>
                    <a:pt x="435" y="192"/>
                    <a:pt x="435" y="192"/>
                    <a:pt x="435" y="192"/>
                  </a:cubicBezTo>
                  <a:cubicBezTo>
                    <a:pt x="436" y="192"/>
                    <a:pt x="436" y="193"/>
                    <a:pt x="435" y="193"/>
                  </a:cubicBezTo>
                  <a:cubicBezTo>
                    <a:pt x="435" y="194"/>
                    <a:pt x="434" y="193"/>
                    <a:pt x="434" y="194"/>
                  </a:cubicBezTo>
                  <a:cubicBezTo>
                    <a:pt x="434" y="195"/>
                    <a:pt x="432" y="197"/>
                    <a:pt x="432" y="198"/>
                  </a:cubicBezTo>
                  <a:cubicBezTo>
                    <a:pt x="431" y="199"/>
                    <a:pt x="430" y="199"/>
                    <a:pt x="430" y="200"/>
                  </a:cubicBezTo>
                  <a:cubicBezTo>
                    <a:pt x="429" y="200"/>
                    <a:pt x="429" y="201"/>
                    <a:pt x="429" y="201"/>
                  </a:cubicBezTo>
                  <a:cubicBezTo>
                    <a:pt x="427" y="204"/>
                    <a:pt x="426" y="206"/>
                    <a:pt x="424" y="209"/>
                  </a:cubicBezTo>
                  <a:cubicBezTo>
                    <a:pt x="423" y="210"/>
                    <a:pt x="421" y="212"/>
                    <a:pt x="420" y="213"/>
                  </a:cubicBezTo>
                  <a:cubicBezTo>
                    <a:pt x="421" y="216"/>
                    <a:pt x="422" y="217"/>
                    <a:pt x="424" y="218"/>
                  </a:cubicBezTo>
                  <a:cubicBezTo>
                    <a:pt x="425" y="219"/>
                    <a:pt x="427" y="220"/>
                    <a:pt x="429" y="220"/>
                  </a:cubicBezTo>
                  <a:cubicBezTo>
                    <a:pt x="430" y="220"/>
                    <a:pt x="431" y="218"/>
                    <a:pt x="432" y="217"/>
                  </a:cubicBezTo>
                  <a:cubicBezTo>
                    <a:pt x="437" y="211"/>
                    <a:pt x="442" y="204"/>
                    <a:pt x="447" y="198"/>
                  </a:cubicBezTo>
                  <a:cubicBezTo>
                    <a:pt x="448" y="196"/>
                    <a:pt x="450" y="195"/>
                    <a:pt x="452" y="193"/>
                  </a:cubicBezTo>
                  <a:cubicBezTo>
                    <a:pt x="452" y="192"/>
                    <a:pt x="452" y="193"/>
                    <a:pt x="452" y="193"/>
                  </a:cubicBezTo>
                  <a:close/>
                  <a:moveTo>
                    <a:pt x="495" y="110"/>
                  </a:moveTo>
                  <a:cubicBezTo>
                    <a:pt x="499" y="110"/>
                    <a:pt x="501" y="110"/>
                    <a:pt x="503" y="109"/>
                  </a:cubicBezTo>
                  <a:cubicBezTo>
                    <a:pt x="505" y="108"/>
                    <a:pt x="506" y="108"/>
                    <a:pt x="507" y="106"/>
                  </a:cubicBezTo>
                  <a:cubicBezTo>
                    <a:pt x="508" y="105"/>
                    <a:pt x="509" y="104"/>
                    <a:pt x="509" y="103"/>
                  </a:cubicBezTo>
                  <a:cubicBezTo>
                    <a:pt x="511" y="99"/>
                    <a:pt x="510" y="94"/>
                    <a:pt x="508" y="92"/>
                  </a:cubicBezTo>
                  <a:cubicBezTo>
                    <a:pt x="508" y="92"/>
                    <a:pt x="508" y="91"/>
                    <a:pt x="508" y="91"/>
                  </a:cubicBezTo>
                  <a:cubicBezTo>
                    <a:pt x="507" y="90"/>
                    <a:pt x="506" y="90"/>
                    <a:pt x="505" y="89"/>
                  </a:cubicBezTo>
                  <a:cubicBezTo>
                    <a:pt x="505" y="89"/>
                    <a:pt x="505" y="89"/>
                    <a:pt x="504" y="88"/>
                  </a:cubicBezTo>
                  <a:cubicBezTo>
                    <a:pt x="504" y="88"/>
                    <a:pt x="503" y="88"/>
                    <a:pt x="503" y="87"/>
                  </a:cubicBezTo>
                  <a:cubicBezTo>
                    <a:pt x="503" y="87"/>
                    <a:pt x="503" y="87"/>
                    <a:pt x="502" y="86"/>
                  </a:cubicBezTo>
                  <a:cubicBezTo>
                    <a:pt x="502" y="86"/>
                    <a:pt x="501" y="86"/>
                    <a:pt x="501" y="86"/>
                  </a:cubicBezTo>
                  <a:cubicBezTo>
                    <a:pt x="497" y="83"/>
                    <a:pt x="492" y="79"/>
                    <a:pt x="489" y="77"/>
                  </a:cubicBezTo>
                  <a:cubicBezTo>
                    <a:pt x="489" y="77"/>
                    <a:pt x="489" y="76"/>
                    <a:pt x="488" y="76"/>
                  </a:cubicBezTo>
                  <a:cubicBezTo>
                    <a:pt x="481" y="87"/>
                    <a:pt x="473" y="97"/>
                    <a:pt x="466" y="107"/>
                  </a:cubicBezTo>
                  <a:cubicBezTo>
                    <a:pt x="468" y="109"/>
                    <a:pt x="470" y="111"/>
                    <a:pt x="473" y="112"/>
                  </a:cubicBezTo>
                  <a:cubicBezTo>
                    <a:pt x="476" y="109"/>
                    <a:pt x="478" y="104"/>
                    <a:pt x="481" y="101"/>
                  </a:cubicBezTo>
                  <a:cubicBezTo>
                    <a:pt x="486" y="104"/>
                    <a:pt x="490" y="108"/>
                    <a:pt x="495" y="110"/>
                  </a:cubicBezTo>
                  <a:close/>
                  <a:moveTo>
                    <a:pt x="166" y="71"/>
                  </a:moveTo>
                  <a:cubicBezTo>
                    <a:pt x="166" y="71"/>
                    <a:pt x="165" y="72"/>
                    <a:pt x="165" y="72"/>
                  </a:cubicBezTo>
                  <a:cubicBezTo>
                    <a:pt x="162" y="74"/>
                    <a:pt x="159" y="76"/>
                    <a:pt x="157" y="77"/>
                  </a:cubicBezTo>
                  <a:cubicBezTo>
                    <a:pt x="156" y="78"/>
                    <a:pt x="155" y="79"/>
                    <a:pt x="154" y="79"/>
                  </a:cubicBezTo>
                  <a:cubicBezTo>
                    <a:pt x="154" y="80"/>
                    <a:pt x="153" y="80"/>
                    <a:pt x="153" y="81"/>
                  </a:cubicBezTo>
                  <a:cubicBezTo>
                    <a:pt x="149" y="83"/>
                    <a:pt x="144" y="86"/>
                    <a:pt x="141" y="89"/>
                  </a:cubicBezTo>
                  <a:cubicBezTo>
                    <a:pt x="143" y="93"/>
                    <a:pt x="146" y="97"/>
                    <a:pt x="149" y="101"/>
                  </a:cubicBezTo>
                  <a:cubicBezTo>
                    <a:pt x="152" y="105"/>
                    <a:pt x="154" y="109"/>
                    <a:pt x="157" y="113"/>
                  </a:cubicBezTo>
                  <a:cubicBezTo>
                    <a:pt x="158" y="114"/>
                    <a:pt x="159" y="116"/>
                    <a:pt x="160" y="116"/>
                  </a:cubicBezTo>
                  <a:cubicBezTo>
                    <a:pt x="161" y="118"/>
                    <a:pt x="161" y="120"/>
                    <a:pt x="163" y="120"/>
                  </a:cubicBezTo>
                  <a:cubicBezTo>
                    <a:pt x="165" y="119"/>
                    <a:pt x="167" y="117"/>
                    <a:pt x="168" y="116"/>
                  </a:cubicBezTo>
                  <a:cubicBezTo>
                    <a:pt x="169" y="116"/>
                    <a:pt x="169" y="116"/>
                    <a:pt x="169" y="116"/>
                  </a:cubicBezTo>
                  <a:cubicBezTo>
                    <a:pt x="170" y="115"/>
                    <a:pt x="170" y="115"/>
                    <a:pt x="171" y="115"/>
                  </a:cubicBezTo>
                  <a:cubicBezTo>
                    <a:pt x="171" y="115"/>
                    <a:pt x="171" y="114"/>
                    <a:pt x="171" y="114"/>
                  </a:cubicBezTo>
                  <a:cubicBezTo>
                    <a:pt x="172" y="114"/>
                    <a:pt x="172" y="114"/>
                    <a:pt x="173" y="114"/>
                  </a:cubicBezTo>
                  <a:cubicBezTo>
                    <a:pt x="173" y="114"/>
                    <a:pt x="173" y="113"/>
                    <a:pt x="173" y="113"/>
                  </a:cubicBezTo>
                  <a:cubicBezTo>
                    <a:pt x="173" y="113"/>
                    <a:pt x="174" y="113"/>
                    <a:pt x="174" y="113"/>
                  </a:cubicBezTo>
                  <a:cubicBezTo>
                    <a:pt x="175" y="112"/>
                    <a:pt x="176" y="111"/>
                    <a:pt x="176" y="111"/>
                  </a:cubicBezTo>
                  <a:cubicBezTo>
                    <a:pt x="177" y="110"/>
                    <a:pt x="177" y="111"/>
                    <a:pt x="177" y="110"/>
                  </a:cubicBezTo>
                  <a:cubicBezTo>
                    <a:pt x="178" y="110"/>
                    <a:pt x="178" y="110"/>
                    <a:pt x="178" y="110"/>
                  </a:cubicBezTo>
                  <a:cubicBezTo>
                    <a:pt x="178" y="109"/>
                    <a:pt x="179" y="109"/>
                    <a:pt x="179" y="109"/>
                  </a:cubicBezTo>
                  <a:cubicBezTo>
                    <a:pt x="180" y="109"/>
                    <a:pt x="181" y="108"/>
                    <a:pt x="181" y="107"/>
                  </a:cubicBezTo>
                  <a:cubicBezTo>
                    <a:pt x="182" y="107"/>
                    <a:pt x="182" y="107"/>
                    <a:pt x="182" y="107"/>
                  </a:cubicBezTo>
                  <a:cubicBezTo>
                    <a:pt x="183" y="107"/>
                    <a:pt x="183" y="106"/>
                    <a:pt x="183" y="106"/>
                  </a:cubicBezTo>
                  <a:cubicBezTo>
                    <a:pt x="183" y="106"/>
                    <a:pt x="184" y="106"/>
                    <a:pt x="184" y="106"/>
                  </a:cubicBezTo>
                  <a:cubicBezTo>
                    <a:pt x="186" y="105"/>
                    <a:pt x="187" y="103"/>
                    <a:pt x="189" y="102"/>
                  </a:cubicBezTo>
                  <a:cubicBezTo>
                    <a:pt x="189" y="101"/>
                    <a:pt x="187" y="101"/>
                    <a:pt x="187" y="99"/>
                  </a:cubicBezTo>
                  <a:cubicBezTo>
                    <a:pt x="186" y="99"/>
                    <a:pt x="187" y="97"/>
                    <a:pt x="185" y="97"/>
                  </a:cubicBezTo>
                  <a:cubicBezTo>
                    <a:pt x="179" y="101"/>
                    <a:pt x="172" y="106"/>
                    <a:pt x="166" y="110"/>
                  </a:cubicBezTo>
                  <a:cubicBezTo>
                    <a:pt x="164" y="107"/>
                    <a:pt x="161" y="105"/>
                    <a:pt x="160" y="102"/>
                  </a:cubicBezTo>
                  <a:cubicBezTo>
                    <a:pt x="166" y="98"/>
                    <a:pt x="171" y="94"/>
                    <a:pt x="177" y="90"/>
                  </a:cubicBezTo>
                  <a:cubicBezTo>
                    <a:pt x="177" y="88"/>
                    <a:pt x="176" y="88"/>
                    <a:pt x="176" y="87"/>
                  </a:cubicBezTo>
                  <a:cubicBezTo>
                    <a:pt x="175" y="86"/>
                    <a:pt x="175" y="85"/>
                    <a:pt x="173" y="84"/>
                  </a:cubicBezTo>
                  <a:cubicBezTo>
                    <a:pt x="171" y="86"/>
                    <a:pt x="169" y="88"/>
                    <a:pt x="166" y="89"/>
                  </a:cubicBezTo>
                  <a:cubicBezTo>
                    <a:pt x="166" y="89"/>
                    <a:pt x="166" y="90"/>
                    <a:pt x="166" y="90"/>
                  </a:cubicBezTo>
                  <a:cubicBezTo>
                    <a:pt x="166" y="90"/>
                    <a:pt x="165" y="90"/>
                    <a:pt x="165" y="90"/>
                  </a:cubicBezTo>
                  <a:cubicBezTo>
                    <a:pt x="165" y="90"/>
                    <a:pt x="165" y="90"/>
                    <a:pt x="165" y="91"/>
                  </a:cubicBezTo>
                  <a:cubicBezTo>
                    <a:pt x="162" y="93"/>
                    <a:pt x="159" y="95"/>
                    <a:pt x="156" y="96"/>
                  </a:cubicBezTo>
                  <a:cubicBezTo>
                    <a:pt x="154" y="94"/>
                    <a:pt x="153" y="92"/>
                    <a:pt x="151" y="89"/>
                  </a:cubicBezTo>
                  <a:cubicBezTo>
                    <a:pt x="157" y="85"/>
                    <a:pt x="163" y="81"/>
                    <a:pt x="170" y="76"/>
                  </a:cubicBezTo>
                  <a:cubicBezTo>
                    <a:pt x="169" y="74"/>
                    <a:pt x="168" y="73"/>
                    <a:pt x="166" y="71"/>
                  </a:cubicBezTo>
                  <a:close/>
                  <a:moveTo>
                    <a:pt x="215" y="61"/>
                  </a:moveTo>
                  <a:cubicBezTo>
                    <a:pt x="214" y="58"/>
                    <a:pt x="212" y="56"/>
                    <a:pt x="210" y="54"/>
                  </a:cubicBezTo>
                  <a:cubicBezTo>
                    <a:pt x="208" y="53"/>
                    <a:pt x="206" y="52"/>
                    <a:pt x="203" y="53"/>
                  </a:cubicBezTo>
                  <a:cubicBezTo>
                    <a:pt x="194" y="56"/>
                    <a:pt x="186" y="61"/>
                    <a:pt x="178" y="64"/>
                  </a:cubicBezTo>
                  <a:cubicBezTo>
                    <a:pt x="183" y="76"/>
                    <a:pt x="189" y="88"/>
                    <a:pt x="195" y="99"/>
                  </a:cubicBezTo>
                  <a:cubicBezTo>
                    <a:pt x="197" y="97"/>
                    <a:pt x="200" y="96"/>
                    <a:pt x="202" y="95"/>
                  </a:cubicBezTo>
                  <a:cubicBezTo>
                    <a:pt x="200" y="90"/>
                    <a:pt x="197" y="86"/>
                    <a:pt x="195" y="80"/>
                  </a:cubicBezTo>
                  <a:cubicBezTo>
                    <a:pt x="198" y="79"/>
                    <a:pt x="200" y="78"/>
                    <a:pt x="204" y="78"/>
                  </a:cubicBezTo>
                  <a:cubicBezTo>
                    <a:pt x="209" y="81"/>
                    <a:pt x="214" y="84"/>
                    <a:pt x="220" y="86"/>
                  </a:cubicBezTo>
                  <a:cubicBezTo>
                    <a:pt x="223" y="85"/>
                    <a:pt x="226" y="84"/>
                    <a:pt x="229" y="82"/>
                  </a:cubicBezTo>
                  <a:cubicBezTo>
                    <a:pt x="222" y="79"/>
                    <a:pt x="217" y="74"/>
                    <a:pt x="209" y="73"/>
                  </a:cubicBezTo>
                  <a:cubicBezTo>
                    <a:pt x="212" y="70"/>
                    <a:pt x="216" y="67"/>
                    <a:pt x="215" y="61"/>
                  </a:cubicBezTo>
                  <a:close/>
                  <a:moveTo>
                    <a:pt x="420" y="83"/>
                  </a:moveTo>
                  <a:cubicBezTo>
                    <a:pt x="422" y="84"/>
                    <a:pt x="425" y="86"/>
                    <a:pt x="427" y="87"/>
                  </a:cubicBezTo>
                  <a:cubicBezTo>
                    <a:pt x="429" y="83"/>
                    <a:pt x="431" y="79"/>
                    <a:pt x="433" y="76"/>
                  </a:cubicBezTo>
                  <a:cubicBezTo>
                    <a:pt x="433" y="74"/>
                    <a:pt x="433" y="73"/>
                    <a:pt x="434" y="72"/>
                  </a:cubicBezTo>
                  <a:cubicBezTo>
                    <a:pt x="439" y="75"/>
                    <a:pt x="445" y="77"/>
                    <a:pt x="450" y="79"/>
                  </a:cubicBezTo>
                  <a:cubicBezTo>
                    <a:pt x="451" y="77"/>
                    <a:pt x="452" y="76"/>
                    <a:pt x="453" y="73"/>
                  </a:cubicBezTo>
                  <a:cubicBezTo>
                    <a:pt x="447" y="71"/>
                    <a:pt x="442" y="69"/>
                    <a:pt x="437" y="66"/>
                  </a:cubicBezTo>
                  <a:cubicBezTo>
                    <a:pt x="438" y="63"/>
                    <a:pt x="439" y="60"/>
                    <a:pt x="441" y="58"/>
                  </a:cubicBezTo>
                  <a:cubicBezTo>
                    <a:pt x="444" y="59"/>
                    <a:pt x="447" y="61"/>
                    <a:pt x="450" y="62"/>
                  </a:cubicBezTo>
                  <a:cubicBezTo>
                    <a:pt x="453" y="63"/>
                    <a:pt x="456" y="65"/>
                    <a:pt x="460" y="66"/>
                  </a:cubicBezTo>
                  <a:cubicBezTo>
                    <a:pt x="460" y="64"/>
                    <a:pt x="461" y="62"/>
                    <a:pt x="462" y="60"/>
                  </a:cubicBezTo>
                  <a:cubicBezTo>
                    <a:pt x="453" y="57"/>
                    <a:pt x="445" y="52"/>
                    <a:pt x="436" y="48"/>
                  </a:cubicBezTo>
                  <a:cubicBezTo>
                    <a:pt x="430" y="60"/>
                    <a:pt x="425" y="71"/>
                    <a:pt x="420" y="83"/>
                  </a:cubicBezTo>
                  <a:close/>
                  <a:moveTo>
                    <a:pt x="248" y="38"/>
                  </a:moveTo>
                  <a:cubicBezTo>
                    <a:pt x="251" y="40"/>
                    <a:pt x="253" y="42"/>
                    <a:pt x="254" y="46"/>
                  </a:cubicBezTo>
                  <a:cubicBezTo>
                    <a:pt x="252" y="47"/>
                    <a:pt x="249" y="47"/>
                    <a:pt x="247" y="48"/>
                  </a:cubicBezTo>
                  <a:cubicBezTo>
                    <a:pt x="245" y="47"/>
                    <a:pt x="245" y="45"/>
                    <a:pt x="243" y="45"/>
                  </a:cubicBezTo>
                  <a:cubicBezTo>
                    <a:pt x="238" y="44"/>
                    <a:pt x="232" y="47"/>
                    <a:pt x="231" y="50"/>
                  </a:cubicBezTo>
                  <a:cubicBezTo>
                    <a:pt x="233" y="56"/>
                    <a:pt x="241" y="53"/>
                    <a:pt x="248" y="53"/>
                  </a:cubicBezTo>
                  <a:cubicBezTo>
                    <a:pt x="252" y="53"/>
                    <a:pt x="255" y="54"/>
                    <a:pt x="258" y="56"/>
                  </a:cubicBezTo>
                  <a:cubicBezTo>
                    <a:pt x="260" y="59"/>
                    <a:pt x="262" y="62"/>
                    <a:pt x="260" y="68"/>
                  </a:cubicBezTo>
                  <a:cubicBezTo>
                    <a:pt x="260" y="68"/>
                    <a:pt x="260" y="69"/>
                    <a:pt x="259" y="69"/>
                  </a:cubicBezTo>
                  <a:cubicBezTo>
                    <a:pt x="259" y="70"/>
                    <a:pt x="259" y="71"/>
                    <a:pt x="259" y="71"/>
                  </a:cubicBezTo>
                  <a:cubicBezTo>
                    <a:pt x="256" y="74"/>
                    <a:pt x="249" y="78"/>
                    <a:pt x="243" y="78"/>
                  </a:cubicBezTo>
                  <a:cubicBezTo>
                    <a:pt x="238" y="79"/>
                    <a:pt x="234" y="78"/>
                    <a:pt x="232" y="76"/>
                  </a:cubicBezTo>
                  <a:cubicBezTo>
                    <a:pt x="231" y="75"/>
                    <a:pt x="230" y="75"/>
                    <a:pt x="230" y="74"/>
                  </a:cubicBezTo>
                  <a:cubicBezTo>
                    <a:pt x="229" y="74"/>
                    <a:pt x="229" y="73"/>
                    <a:pt x="228" y="72"/>
                  </a:cubicBezTo>
                  <a:cubicBezTo>
                    <a:pt x="228" y="71"/>
                    <a:pt x="227" y="71"/>
                    <a:pt x="227" y="70"/>
                  </a:cubicBezTo>
                  <a:cubicBezTo>
                    <a:pt x="230" y="69"/>
                    <a:pt x="232" y="68"/>
                    <a:pt x="235" y="67"/>
                  </a:cubicBezTo>
                  <a:cubicBezTo>
                    <a:pt x="236" y="69"/>
                    <a:pt x="238" y="70"/>
                    <a:pt x="240" y="72"/>
                  </a:cubicBezTo>
                  <a:cubicBezTo>
                    <a:pt x="244" y="72"/>
                    <a:pt x="247" y="71"/>
                    <a:pt x="250" y="69"/>
                  </a:cubicBezTo>
                  <a:cubicBezTo>
                    <a:pt x="251" y="68"/>
                    <a:pt x="253" y="66"/>
                    <a:pt x="252" y="64"/>
                  </a:cubicBezTo>
                  <a:cubicBezTo>
                    <a:pt x="252" y="58"/>
                    <a:pt x="241" y="62"/>
                    <a:pt x="234" y="61"/>
                  </a:cubicBezTo>
                  <a:cubicBezTo>
                    <a:pt x="227" y="61"/>
                    <a:pt x="222" y="56"/>
                    <a:pt x="224" y="48"/>
                  </a:cubicBezTo>
                  <a:cubicBezTo>
                    <a:pt x="228" y="41"/>
                    <a:pt x="237" y="37"/>
                    <a:pt x="248" y="38"/>
                  </a:cubicBezTo>
                  <a:close/>
                  <a:moveTo>
                    <a:pt x="379" y="61"/>
                  </a:moveTo>
                  <a:cubicBezTo>
                    <a:pt x="378" y="54"/>
                    <a:pt x="381" y="46"/>
                    <a:pt x="385" y="41"/>
                  </a:cubicBezTo>
                  <a:cubicBezTo>
                    <a:pt x="389" y="39"/>
                    <a:pt x="391" y="36"/>
                    <a:pt x="396" y="36"/>
                  </a:cubicBezTo>
                  <a:cubicBezTo>
                    <a:pt x="400" y="36"/>
                    <a:pt x="408" y="38"/>
                    <a:pt x="412" y="40"/>
                  </a:cubicBezTo>
                  <a:cubicBezTo>
                    <a:pt x="412" y="40"/>
                    <a:pt x="412" y="41"/>
                    <a:pt x="412" y="41"/>
                  </a:cubicBezTo>
                  <a:cubicBezTo>
                    <a:pt x="414" y="41"/>
                    <a:pt x="415" y="43"/>
                    <a:pt x="417" y="44"/>
                  </a:cubicBezTo>
                  <a:cubicBezTo>
                    <a:pt x="418" y="47"/>
                    <a:pt x="420" y="50"/>
                    <a:pt x="420" y="54"/>
                  </a:cubicBezTo>
                  <a:cubicBezTo>
                    <a:pt x="421" y="58"/>
                    <a:pt x="419" y="62"/>
                    <a:pt x="418" y="65"/>
                  </a:cubicBezTo>
                  <a:cubicBezTo>
                    <a:pt x="418" y="66"/>
                    <a:pt x="417" y="68"/>
                    <a:pt x="417" y="68"/>
                  </a:cubicBezTo>
                  <a:cubicBezTo>
                    <a:pt x="417" y="69"/>
                    <a:pt x="416" y="69"/>
                    <a:pt x="416" y="69"/>
                  </a:cubicBezTo>
                  <a:cubicBezTo>
                    <a:pt x="416" y="70"/>
                    <a:pt x="414" y="72"/>
                    <a:pt x="413" y="73"/>
                  </a:cubicBezTo>
                  <a:cubicBezTo>
                    <a:pt x="412" y="73"/>
                    <a:pt x="412" y="73"/>
                    <a:pt x="412" y="73"/>
                  </a:cubicBezTo>
                  <a:cubicBezTo>
                    <a:pt x="411" y="74"/>
                    <a:pt x="410" y="75"/>
                    <a:pt x="408" y="76"/>
                  </a:cubicBezTo>
                  <a:cubicBezTo>
                    <a:pt x="398" y="79"/>
                    <a:pt x="384" y="74"/>
                    <a:pt x="380" y="65"/>
                  </a:cubicBezTo>
                  <a:cubicBezTo>
                    <a:pt x="380" y="64"/>
                    <a:pt x="379" y="62"/>
                    <a:pt x="379" y="61"/>
                  </a:cubicBezTo>
                  <a:close/>
                  <a:moveTo>
                    <a:pt x="263" y="33"/>
                  </a:moveTo>
                  <a:cubicBezTo>
                    <a:pt x="265" y="42"/>
                    <a:pt x="267" y="53"/>
                    <a:pt x="268" y="62"/>
                  </a:cubicBezTo>
                  <a:cubicBezTo>
                    <a:pt x="269" y="65"/>
                    <a:pt x="270" y="68"/>
                    <a:pt x="271" y="71"/>
                  </a:cubicBezTo>
                  <a:cubicBezTo>
                    <a:pt x="273" y="70"/>
                    <a:pt x="276" y="69"/>
                    <a:pt x="279" y="69"/>
                  </a:cubicBezTo>
                  <a:cubicBezTo>
                    <a:pt x="276" y="57"/>
                    <a:pt x="274" y="43"/>
                    <a:pt x="271" y="31"/>
                  </a:cubicBezTo>
                  <a:cubicBezTo>
                    <a:pt x="269" y="32"/>
                    <a:pt x="266" y="33"/>
                    <a:pt x="263" y="33"/>
                  </a:cubicBezTo>
                  <a:close/>
                  <a:moveTo>
                    <a:pt x="321" y="27"/>
                  </a:moveTo>
                  <a:cubicBezTo>
                    <a:pt x="325" y="34"/>
                    <a:pt x="330" y="42"/>
                    <a:pt x="334" y="49"/>
                  </a:cubicBezTo>
                  <a:cubicBezTo>
                    <a:pt x="334" y="55"/>
                    <a:pt x="334" y="60"/>
                    <a:pt x="333" y="65"/>
                  </a:cubicBezTo>
                  <a:cubicBezTo>
                    <a:pt x="336" y="65"/>
                    <a:pt x="339" y="65"/>
                    <a:pt x="342" y="66"/>
                  </a:cubicBezTo>
                  <a:cubicBezTo>
                    <a:pt x="342" y="61"/>
                    <a:pt x="342" y="56"/>
                    <a:pt x="342" y="50"/>
                  </a:cubicBezTo>
                  <a:cubicBezTo>
                    <a:pt x="345" y="46"/>
                    <a:pt x="348" y="43"/>
                    <a:pt x="351" y="39"/>
                  </a:cubicBezTo>
                  <a:cubicBezTo>
                    <a:pt x="352" y="37"/>
                    <a:pt x="353" y="36"/>
                    <a:pt x="355" y="34"/>
                  </a:cubicBezTo>
                  <a:cubicBezTo>
                    <a:pt x="356" y="32"/>
                    <a:pt x="358" y="30"/>
                    <a:pt x="359" y="28"/>
                  </a:cubicBezTo>
                  <a:cubicBezTo>
                    <a:pt x="356" y="28"/>
                    <a:pt x="353" y="27"/>
                    <a:pt x="350" y="28"/>
                  </a:cubicBezTo>
                  <a:cubicBezTo>
                    <a:pt x="346" y="32"/>
                    <a:pt x="343" y="38"/>
                    <a:pt x="339" y="42"/>
                  </a:cubicBezTo>
                  <a:cubicBezTo>
                    <a:pt x="336" y="37"/>
                    <a:pt x="333" y="32"/>
                    <a:pt x="330" y="27"/>
                  </a:cubicBezTo>
                  <a:cubicBezTo>
                    <a:pt x="327" y="27"/>
                    <a:pt x="323" y="25"/>
                    <a:pt x="320" y="27"/>
                  </a:cubicBezTo>
                  <a:cubicBezTo>
                    <a:pt x="320" y="27"/>
                    <a:pt x="320" y="27"/>
                    <a:pt x="321" y="27"/>
                  </a:cubicBezTo>
                  <a:close/>
                  <a:moveTo>
                    <a:pt x="280" y="29"/>
                  </a:moveTo>
                  <a:cubicBezTo>
                    <a:pt x="280" y="32"/>
                    <a:pt x="281" y="33"/>
                    <a:pt x="281" y="36"/>
                  </a:cubicBezTo>
                  <a:cubicBezTo>
                    <a:pt x="285" y="35"/>
                    <a:pt x="289" y="35"/>
                    <a:pt x="293" y="35"/>
                  </a:cubicBezTo>
                  <a:cubicBezTo>
                    <a:pt x="294" y="45"/>
                    <a:pt x="295" y="56"/>
                    <a:pt x="296" y="67"/>
                  </a:cubicBezTo>
                  <a:cubicBezTo>
                    <a:pt x="299" y="66"/>
                    <a:pt x="302" y="66"/>
                    <a:pt x="305" y="66"/>
                  </a:cubicBezTo>
                  <a:cubicBezTo>
                    <a:pt x="303" y="55"/>
                    <a:pt x="303" y="44"/>
                    <a:pt x="302" y="34"/>
                  </a:cubicBezTo>
                  <a:cubicBezTo>
                    <a:pt x="306" y="34"/>
                    <a:pt x="310" y="33"/>
                    <a:pt x="314" y="33"/>
                  </a:cubicBezTo>
                  <a:cubicBezTo>
                    <a:pt x="314" y="30"/>
                    <a:pt x="314" y="28"/>
                    <a:pt x="313" y="26"/>
                  </a:cubicBezTo>
                  <a:cubicBezTo>
                    <a:pt x="303" y="28"/>
                    <a:pt x="292" y="28"/>
                    <a:pt x="280" y="29"/>
                  </a:cubicBezTo>
                  <a:close/>
                  <a:moveTo>
                    <a:pt x="550" y="91"/>
                  </a:moveTo>
                  <a:cubicBezTo>
                    <a:pt x="552" y="93"/>
                    <a:pt x="554" y="94"/>
                    <a:pt x="555" y="96"/>
                  </a:cubicBezTo>
                  <a:cubicBezTo>
                    <a:pt x="557" y="97"/>
                    <a:pt x="558" y="99"/>
                    <a:pt x="559" y="101"/>
                  </a:cubicBezTo>
                  <a:cubicBezTo>
                    <a:pt x="561" y="103"/>
                    <a:pt x="564" y="105"/>
                    <a:pt x="566" y="108"/>
                  </a:cubicBezTo>
                  <a:cubicBezTo>
                    <a:pt x="567" y="108"/>
                    <a:pt x="567" y="110"/>
                    <a:pt x="568" y="110"/>
                  </a:cubicBezTo>
                  <a:cubicBezTo>
                    <a:pt x="569" y="111"/>
                    <a:pt x="570" y="112"/>
                    <a:pt x="571" y="114"/>
                  </a:cubicBezTo>
                  <a:cubicBezTo>
                    <a:pt x="572" y="115"/>
                    <a:pt x="573" y="116"/>
                    <a:pt x="575" y="118"/>
                  </a:cubicBezTo>
                  <a:cubicBezTo>
                    <a:pt x="575" y="118"/>
                    <a:pt x="576" y="119"/>
                    <a:pt x="576" y="120"/>
                  </a:cubicBezTo>
                  <a:cubicBezTo>
                    <a:pt x="578" y="122"/>
                    <a:pt x="579" y="123"/>
                    <a:pt x="581" y="125"/>
                  </a:cubicBezTo>
                  <a:cubicBezTo>
                    <a:pt x="582" y="127"/>
                    <a:pt x="584" y="129"/>
                    <a:pt x="586" y="132"/>
                  </a:cubicBezTo>
                  <a:cubicBezTo>
                    <a:pt x="586" y="133"/>
                    <a:pt x="587" y="133"/>
                    <a:pt x="587" y="134"/>
                  </a:cubicBezTo>
                  <a:cubicBezTo>
                    <a:pt x="588" y="135"/>
                    <a:pt x="589" y="136"/>
                    <a:pt x="589" y="137"/>
                  </a:cubicBezTo>
                  <a:cubicBezTo>
                    <a:pt x="590" y="138"/>
                    <a:pt x="591" y="139"/>
                    <a:pt x="591" y="140"/>
                  </a:cubicBezTo>
                  <a:cubicBezTo>
                    <a:pt x="593" y="142"/>
                    <a:pt x="596" y="146"/>
                    <a:pt x="598" y="149"/>
                  </a:cubicBezTo>
                  <a:cubicBezTo>
                    <a:pt x="599" y="151"/>
                    <a:pt x="600" y="153"/>
                    <a:pt x="601" y="155"/>
                  </a:cubicBezTo>
                  <a:cubicBezTo>
                    <a:pt x="601" y="155"/>
                    <a:pt x="602" y="156"/>
                    <a:pt x="602" y="156"/>
                  </a:cubicBezTo>
                  <a:cubicBezTo>
                    <a:pt x="603" y="158"/>
                    <a:pt x="604" y="159"/>
                    <a:pt x="605" y="161"/>
                  </a:cubicBezTo>
                  <a:cubicBezTo>
                    <a:pt x="606" y="163"/>
                    <a:pt x="608" y="166"/>
                    <a:pt x="610" y="169"/>
                  </a:cubicBezTo>
                  <a:cubicBezTo>
                    <a:pt x="616" y="181"/>
                    <a:pt x="622" y="194"/>
                    <a:pt x="627" y="207"/>
                  </a:cubicBezTo>
                  <a:cubicBezTo>
                    <a:pt x="628" y="209"/>
                    <a:pt x="629" y="212"/>
                    <a:pt x="629" y="214"/>
                  </a:cubicBezTo>
                  <a:cubicBezTo>
                    <a:pt x="630" y="215"/>
                    <a:pt x="631" y="216"/>
                    <a:pt x="631" y="217"/>
                  </a:cubicBezTo>
                  <a:cubicBezTo>
                    <a:pt x="632" y="219"/>
                    <a:pt x="632" y="221"/>
                    <a:pt x="633" y="224"/>
                  </a:cubicBezTo>
                  <a:cubicBezTo>
                    <a:pt x="636" y="231"/>
                    <a:pt x="638" y="241"/>
                    <a:pt x="640" y="249"/>
                  </a:cubicBezTo>
                  <a:cubicBezTo>
                    <a:pt x="641" y="253"/>
                    <a:pt x="642" y="256"/>
                    <a:pt x="643" y="260"/>
                  </a:cubicBezTo>
                  <a:cubicBezTo>
                    <a:pt x="643" y="264"/>
                    <a:pt x="644" y="268"/>
                    <a:pt x="645" y="272"/>
                  </a:cubicBezTo>
                  <a:cubicBezTo>
                    <a:pt x="645" y="277"/>
                    <a:pt x="646" y="282"/>
                    <a:pt x="647" y="288"/>
                  </a:cubicBezTo>
                  <a:cubicBezTo>
                    <a:pt x="651" y="323"/>
                    <a:pt x="649" y="359"/>
                    <a:pt x="642" y="389"/>
                  </a:cubicBezTo>
                  <a:cubicBezTo>
                    <a:pt x="637" y="414"/>
                    <a:pt x="629" y="437"/>
                    <a:pt x="619" y="458"/>
                  </a:cubicBezTo>
                  <a:cubicBezTo>
                    <a:pt x="617" y="463"/>
                    <a:pt x="616" y="467"/>
                    <a:pt x="614" y="471"/>
                  </a:cubicBezTo>
                  <a:cubicBezTo>
                    <a:pt x="613" y="473"/>
                    <a:pt x="611" y="475"/>
                    <a:pt x="610" y="477"/>
                  </a:cubicBezTo>
                  <a:cubicBezTo>
                    <a:pt x="609" y="479"/>
                    <a:pt x="608" y="481"/>
                    <a:pt x="607" y="483"/>
                  </a:cubicBezTo>
                  <a:cubicBezTo>
                    <a:pt x="603" y="490"/>
                    <a:pt x="598" y="498"/>
                    <a:pt x="593" y="505"/>
                  </a:cubicBezTo>
                  <a:cubicBezTo>
                    <a:pt x="592" y="506"/>
                    <a:pt x="592" y="508"/>
                    <a:pt x="591" y="509"/>
                  </a:cubicBezTo>
                  <a:cubicBezTo>
                    <a:pt x="590" y="510"/>
                    <a:pt x="589" y="511"/>
                    <a:pt x="589" y="512"/>
                  </a:cubicBezTo>
                  <a:cubicBezTo>
                    <a:pt x="588" y="513"/>
                    <a:pt x="586" y="514"/>
                    <a:pt x="586" y="516"/>
                  </a:cubicBezTo>
                  <a:cubicBezTo>
                    <a:pt x="583" y="519"/>
                    <a:pt x="580" y="523"/>
                    <a:pt x="578" y="526"/>
                  </a:cubicBezTo>
                  <a:cubicBezTo>
                    <a:pt x="572" y="533"/>
                    <a:pt x="567" y="540"/>
                    <a:pt x="560" y="546"/>
                  </a:cubicBezTo>
                  <a:cubicBezTo>
                    <a:pt x="557" y="549"/>
                    <a:pt x="554" y="552"/>
                    <a:pt x="551" y="555"/>
                  </a:cubicBezTo>
                  <a:cubicBezTo>
                    <a:pt x="548" y="558"/>
                    <a:pt x="545" y="561"/>
                    <a:pt x="542" y="564"/>
                  </a:cubicBezTo>
                  <a:cubicBezTo>
                    <a:pt x="541" y="565"/>
                    <a:pt x="540" y="565"/>
                    <a:pt x="540" y="566"/>
                  </a:cubicBezTo>
                  <a:cubicBezTo>
                    <a:pt x="539" y="567"/>
                    <a:pt x="538" y="568"/>
                    <a:pt x="537" y="568"/>
                  </a:cubicBezTo>
                  <a:cubicBezTo>
                    <a:pt x="534" y="571"/>
                    <a:pt x="531" y="574"/>
                    <a:pt x="527" y="577"/>
                  </a:cubicBezTo>
                  <a:cubicBezTo>
                    <a:pt x="525" y="578"/>
                    <a:pt x="523" y="580"/>
                    <a:pt x="521" y="582"/>
                  </a:cubicBezTo>
                  <a:cubicBezTo>
                    <a:pt x="520" y="582"/>
                    <a:pt x="520" y="582"/>
                    <a:pt x="519" y="582"/>
                  </a:cubicBezTo>
                  <a:cubicBezTo>
                    <a:pt x="519" y="583"/>
                    <a:pt x="518" y="584"/>
                    <a:pt x="517" y="585"/>
                  </a:cubicBezTo>
                  <a:cubicBezTo>
                    <a:pt x="517" y="585"/>
                    <a:pt x="516" y="585"/>
                    <a:pt x="516" y="585"/>
                  </a:cubicBezTo>
                  <a:cubicBezTo>
                    <a:pt x="515" y="586"/>
                    <a:pt x="514" y="586"/>
                    <a:pt x="513" y="587"/>
                  </a:cubicBezTo>
                  <a:cubicBezTo>
                    <a:pt x="512" y="588"/>
                    <a:pt x="512" y="588"/>
                    <a:pt x="512" y="588"/>
                  </a:cubicBezTo>
                  <a:cubicBezTo>
                    <a:pt x="511" y="589"/>
                    <a:pt x="510" y="589"/>
                    <a:pt x="510" y="589"/>
                  </a:cubicBezTo>
                  <a:cubicBezTo>
                    <a:pt x="509" y="590"/>
                    <a:pt x="509" y="590"/>
                    <a:pt x="509" y="590"/>
                  </a:cubicBezTo>
                  <a:cubicBezTo>
                    <a:pt x="507" y="591"/>
                    <a:pt x="506" y="592"/>
                    <a:pt x="504" y="593"/>
                  </a:cubicBezTo>
                  <a:cubicBezTo>
                    <a:pt x="504" y="593"/>
                    <a:pt x="504" y="594"/>
                    <a:pt x="503" y="594"/>
                  </a:cubicBezTo>
                  <a:cubicBezTo>
                    <a:pt x="502" y="595"/>
                    <a:pt x="501" y="595"/>
                    <a:pt x="500" y="596"/>
                  </a:cubicBezTo>
                  <a:cubicBezTo>
                    <a:pt x="500" y="596"/>
                    <a:pt x="500" y="597"/>
                    <a:pt x="499" y="597"/>
                  </a:cubicBezTo>
                  <a:cubicBezTo>
                    <a:pt x="499" y="597"/>
                    <a:pt x="498" y="597"/>
                    <a:pt x="498" y="598"/>
                  </a:cubicBezTo>
                  <a:cubicBezTo>
                    <a:pt x="496" y="599"/>
                    <a:pt x="494" y="600"/>
                    <a:pt x="492" y="601"/>
                  </a:cubicBezTo>
                  <a:cubicBezTo>
                    <a:pt x="491" y="602"/>
                    <a:pt x="490" y="602"/>
                    <a:pt x="489" y="603"/>
                  </a:cubicBezTo>
                  <a:cubicBezTo>
                    <a:pt x="487" y="604"/>
                    <a:pt x="485" y="605"/>
                    <a:pt x="483" y="606"/>
                  </a:cubicBezTo>
                  <a:cubicBezTo>
                    <a:pt x="483" y="606"/>
                    <a:pt x="482" y="607"/>
                    <a:pt x="482" y="607"/>
                  </a:cubicBezTo>
                  <a:cubicBezTo>
                    <a:pt x="481" y="608"/>
                    <a:pt x="479" y="609"/>
                    <a:pt x="477" y="609"/>
                  </a:cubicBezTo>
                  <a:cubicBezTo>
                    <a:pt x="466" y="616"/>
                    <a:pt x="453" y="621"/>
                    <a:pt x="440" y="627"/>
                  </a:cubicBezTo>
                  <a:cubicBezTo>
                    <a:pt x="432" y="629"/>
                    <a:pt x="424" y="632"/>
                    <a:pt x="416" y="635"/>
                  </a:cubicBezTo>
                  <a:cubicBezTo>
                    <a:pt x="413" y="635"/>
                    <a:pt x="408" y="637"/>
                    <a:pt x="405" y="638"/>
                  </a:cubicBezTo>
                  <a:cubicBezTo>
                    <a:pt x="400" y="639"/>
                    <a:pt x="395" y="640"/>
                    <a:pt x="390" y="641"/>
                  </a:cubicBezTo>
                  <a:cubicBezTo>
                    <a:pt x="357" y="648"/>
                    <a:pt x="318" y="649"/>
                    <a:pt x="281" y="644"/>
                  </a:cubicBezTo>
                  <a:cubicBezTo>
                    <a:pt x="278" y="644"/>
                    <a:pt x="276" y="643"/>
                    <a:pt x="273" y="643"/>
                  </a:cubicBezTo>
                  <a:cubicBezTo>
                    <a:pt x="268" y="642"/>
                    <a:pt x="263" y="641"/>
                    <a:pt x="257" y="640"/>
                  </a:cubicBezTo>
                  <a:cubicBezTo>
                    <a:pt x="228" y="634"/>
                    <a:pt x="201" y="624"/>
                    <a:pt x="177" y="611"/>
                  </a:cubicBezTo>
                  <a:cubicBezTo>
                    <a:pt x="175" y="610"/>
                    <a:pt x="173" y="609"/>
                    <a:pt x="171" y="608"/>
                  </a:cubicBezTo>
                  <a:cubicBezTo>
                    <a:pt x="163" y="604"/>
                    <a:pt x="156" y="599"/>
                    <a:pt x="148" y="595"/>
                  </a:cubicBezTo>
                  <a:cubicBezTo>
                    <a:pt x="148" y="594"/>
                    <a:pt x="148" y="594"/>
                    <a:pt x="147" y="594"/>
                  </a:cubicBezTo>
                  <a:cubicBezTo>
                    <a:pt x="147" y="594"/>
                    <a:pt x="147" y="594"/>
                    <a:pt x="146" y="593"/>
                  </a:cubicBezTo>
                  <a:cubicBezTo>
                    <a:pt x="146" y="593"/>
                    <a:pt x="145" y="592"/>
                    <a:pt x="145" y="592"/>
                  </a:cubicBezTo>
                  <a:cubicBezTo>
                    <a:pt x="144" y="592"/>
                    <a:pt x="144" y="592"/>
                    <a:pt x="144" y="592"/>
                  </a:cubicBezTo>
                  <a:cubicBezTo>
                    <a:pt x="143" y="591"/>
                    <a:pt x="143" y="591"/>
                    <a:pt x="143" y="591"/>
                  </a:cubicBezTo>
                  <a:cubicBezTo>
                    <a:pt x="143" y="591"/>
                    <a:pt x="142" y="591"/>
                    <a:pt x="142" y="590"/>
                  </a:cubicBezTo>
                  <a:cubicBezTo>
                    <a:pt x="141" y="590"/>
                    <a:pt x="140" y="589"/>
                    <a:pt x="139" y="588"/>
                  </a:cubicBezTo>
                  <a:cubicBezTo>
                    <a:pt x="137" y="587"/>
                    <a:pt x="134" y="584"/>
                    <a:pt x="131" y="582"/>
                  </a:cubicBezTo>
                  <a:cubicBezTo>
                    <a:pt x="130" y="581"/>
                    <a:pt x="128" y="581"/>
                    <a:pt x="127" y="580"/>
                  </a:cubicBezTo>
                  <a:cubicBezTo>
                    <a:pt x="127" y="579"/>
                    <a:pt x="126" y="579"/>
                    <a:pt x="126" y="578"/>
                  </a:cubicBezTo>
                  <a:cubicBezTo>
                    <a:pt x="125" y="577"/>
                    <a:pt x="124" y="577"/>
                    <a:pt x="122" y="576"/>
                  </a:cubicBezTo>
                  <a:cubicBezTo>
                    <a:pt x="122" y="575"/>
                    <a:pt x="122" y="575"/>
                    <a:pt x="122" y="575"/>
                  </a:cubicBezTo>
                  <a:cubicBezTo>
                    <a:pt x="121" y="575"/>
                    <a:pt x="121" y="575"/>
                    <a:pt x="120" y="574"/>
                  </a:cubicBezTo>
                  <a:cubicBezTo>
                    <a:pt x="119" y="573"/>
                    <a:pt x="118" y="572"/>
                    <a:pt x="117" y="571"/>
                  </a:cubicBezTo>
                  <a:cubicBezTo>
                    <a:pt x="117" y="571"/>
                    <a:pt x="116" y="571"/>
                    <a:pt x="115" y="570"/>
                  </a:cubicBezTo>
                  <a:cubicBezTo>
                    <a:pt x="115" y="570"/>
                    <a:pt x="115" y="569"/>
                    <a:pt x="114" y="569"/>
                  </a:cubicBezTo>
                  <a:cubicBezTo>
                    <a:pt x="114" y="568"/>
                    <a:pt x="113" y="568"/>
                    <a:pt x="112" y="568"/>
                  </a:cubicBezTo>
                  <a:cubicBezTo>
                    <a:pt x="111" y="566"/>
                    <a:pt x="109" y="564"/>
                    <a:pt x="108" y="563"/>
                  </a:cubicBezTo>
                  <a:cubicBezTo>
                    <a:pt x="107" y="562"/>
                    <a:pt x="105" y="561"/>
                    <a:pt x="104" y="560"/>
                  </a:cubicBezTo>
                  <a:cubicBezTo>
                    <a:pt x="103" y="559"/>
                    <a:pt x="103" y="558"/>
                    <a:pt x="102" y="557"/>
                  </a:cubicBezTo>
                  <a:cubicBezTo>
                    <a:pt x="100" y="555"/>
                    <a:pt x="97" y="554"/>
                    <a:pt x="95" y="552"/>
                  </a:cubicBezTo>
                  <a:cubicBezTo>
                    <a:pt x="94" y="550"/>
                    <a:pt x="94" y="549"/>
                    <a:pt x="93" y="548"/>
                  </a:cubicBezTo>
                  <a:cubicBezTo>
                    <a:pt x="92" y="547"/>
                    <a:pt x="90" y="546"/>
                    <a:pt x="90" y="545"/>
                  </a:cubicBezTo>
                  <a:cubicBezTo>
                    <a:pt x="88" y="543"/>
                    <a:pt x="86" y="541"/>
                    <a:pt x="84" y="539"/>
                  </a:cubicBezTo>
                  <a:cubicBezTo>
                    <a:pt x="83" y="538"/>
                    <a:pt x="82" y="537"/>
                    <a:pt x="81" y="536"/>
                  </a:cubicBezTo>
                  <a:cubicBezTo>
                    <a:pt x="81" y="536"/>
                    <a:pt x="81" y="535"/>
                    <a:pt x="80" y="535"/>
                  </a:cubicBezTo>
                  <a:cubicBezTo>
                    <a:pt x="80" y="534"/>
                    <a:pt x="79" y="534"/>
                    <a:pt x="79" y="533"/>
                  </a:cubicBezTo>
                  <a:cubicBezTo>
                    <a:pt x="78" y="532"/>
                    <a:pt x="77" y="531"/>
                    <a:pt x="75" y="529"/>
                  </a:cubicBezTo>
                  <a:cubicBezTo>
                    <a:pt x="74" y="527"/>
                    <a:pt x="72" y="525"/>
                    <a:pt x="70" y="523"/>
                  </a:cubicBezTo>
                  <a:cubicBezTo>
                    <a:pt x="70" y="522"/>
                    <a:pt x="70" y="522"/>
                    <a:pt x="69" y="522"/>
                  </a:cubicBezTo>
                  <a:cubicBezTo>
                    <a:pt x="69" y="521"/>
                    <a:pt x="69" y="521"/>
                    <a:pt x="68" y="520"/>
                  </a:cubicBezTo>
                  <a:cubicBezTo>
                    <a:pt x="68" y="519"/>
                    <a:pt x="67" y="518"/>
                    <a:pt x="66" y="518"/>
                  </a:cubicBezTo>
                  <a:cubicBezTo>
                    <a:pt x="63" y="513"/>
                    <a:pt x="58" y="507"/>
                    <a:pt x="55" y="501"/>
                  </a:cubicBezTo>
                  <a:cubicBezTo>
                    <a:pt x="54" y="500"/>
                    <a:pt x="54" y="500"/>
                    <a:pt x="53" y="499"/>
                  </a:cubicBezTo>
                  <a:cubicBezTo>
                    <a:pt x="53" y="499"/>
                    <a:pt x="53" y="498"/>
                    <a:pt x="53" y="498"/>
                  </a:cubicBezTo>
                  <a:cubicBezTo>
                    <a:pt x="53" y="497"/>
                    <a:pt x="52" y="497"/>
                    <a:pt x="51" y="496"/>
                  </a:cubicBezTo>
                  <a:cubicBezTo>
                    <a:pt x="51" y="496"/>
                    <a:pt x="51" y="496"/>
                    <a:pt x="51" y="495"/>
                  </a:cubicBezTo>
                  <a:cubicBezTo>
                    <a:pt x="51" y="495"/>
                    <a:pt x="50" y="493"/>
                    <a:pt x="49" y="493"/>
                  </a:cubicBezTo>
                  <a:cubicBezTo>
                    <a:pt x="48" y="491"/>
                    <a:pt x="47" y="490"/>
                    <a:pt x="47" y="488"/>
                  </a:cubicBezTo>
                  <a:cubicBezTo>
                    <a:pt x="41" y="479"/>
                    <a:pt x="36" y="469"/>
                    <a:pt x="32" y="459"/>
                  </a:cubicBezTo>
                  <a:cubicBezTo>
                    <a:pt x="22" y="437"/>
                    <a:pt x="14" y="414"/>
                    <a:pt x="8" y="387"/>
                  </a:cubicBezTo>
                  <a:cubicBezTo>
                    <a:pt x="2" y="360"/>
                    <a:pt x="0" y="327"/>
                    <a:pt x="3" y="298"/>
                  </a:cubicBezTo>
                  <a:cubicBezTo>
                    <a:pt x="6" y="260"/>
                    <a:pt x="15" y="228"/>
                    <a:pt x="27" y="199"/>
                  </a:cubicBezTo>
                  <a:cubicBezTo>
                    <a:pt x="28" y="197"/>
                    <a:pt x="29" y="194"/>
                    <a:pt x="31" y="191"/>
                  </a:cubicBezTo>
                  <a:cubicBezTo>
                    <a:pt x="36" y="178"/>
                    <a:pt x="43" y="165"/>
                    <a:pt x="50" y="154"/>
                  </a:cubicBezTo>
                  <a:cubicBezTo>
                    <a:pt x="63" y="134"/>
                    <a:pt x="76" y="116"/>
                    <a:pt x="92" y="100"/>
                  </a:cubicBezTo>
                  <a:cubicBezTo>
                    <a:pt x="119" y="72"/>
                    <a:pt x="150" y="49"/>
                    <a:pt x="186" y="32"/>
                  </a:cubicBezTo>
                  <a:cubicBezTo>
                    <a:pt x="190" y="30"/>
                    <a:pt x="194" y="28"/>
                    <a:pt x="198" y="26"/>
                  </a:cubicBezTo>
                  <a:cubicBezTo>
                    <a:pt x="200" y="26"/>
                    <a:pt x="202" y="25"/>
                    <a:pt x="204" y="24"/>
                  </a:cubicBezTo>
                  <a:cubicBezTo>
                    <a:pt x="205" y="23"/>
                    <a:pt x="206" y="23"/>
                    <a:pt x="208" y="23"/>
                  </a:cubicBezTo>
                  <a:cubicBezTo>
                    <a:pt x="208" y="23"/>
                    <a:pt x="208" y="22"/>
                    <a:pt x="208" y="22"/>
                  </a:cubicBezTo>
                  <a:cubicBezTo>
                    <a:pt x="209" y="22"/>
                    <a:pt x="210" y="22"/>
                    <a:pt x="211" y="21"/>
                  </a:cubicBezTo>
                  <a:cubicBezTo>
                    <a:pt x="217" y="19"/>
                    <a:pt x="223" y="17"/>
                    <a:pt x="230" y="15"/>
                  </a:cubicBezTo>
                  <a:cubicBezTo>
                    <a:pt x="250" y="9"/>
                    <a:pt x="273" y="4"/>
                    <a:pt x="297" y="1"/>
                  </a:cubicBezTo>
                  <a:cubicBezTo>
                    <a:pt x="310" y="0"/>
                    <a:pt x="324" y="0"/>
                    <a:pt x="338" y="1"/>
                  </a:cubicBezTo>
                  <a:cubicBezTo>
                    <a:pt x="382" y="2"/>
                    <a:pt x="421" y="13"/>
                    <a:pt x="453" y="27"/>
                  </a:cubicBezTo>
                  <a:cubicBezTo>
                    <a:pt x="491" y="43"/>
                    <a:pt x="524" y="66"/>
                    <a:pt x="550" y="91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587" name="îṥḻíḑê"/>
            <p:cNvSpPr/>
            <p:nvPr userDrawn="1"/>
          </p:nvSpPr>
          <p:spPr bwMode="auto">
            <a:xfrm>
              <a:off x="3282950" y="2673350"/>
              <a:ext cx="69850" cy="74613"/>
            </a:xfrm>
            <a:custGeom>
              <a:avLst/>
              <a:gdLst>
                <a:gd name="T0" fmla="*/ 10 w 26"/>
                <a:gd name="T1" fmla="*/ 2 h 28"/>
                <a:gd name="T2" fmla="*/ 26 w 26"/>
                <a:gd name="T3" fmla="*/ 9 h 28"/>
                <a:gd name="T4" fmla="*/ 23 w 26"/>
                <a:gd name="T5" fmla="*/ 21 h 28"/>
                <a:gd name="T6" fmla="*/ 18 w 26"/>
                <a:gd name="T7" fmla="*/ 27 h 28"/>
                <a:gd name="T8" fmla="*/ 14 w 26"/>
                <a:gd name="T9" fmla="*/ 28 h 28"/>
                <a:gd name="T10" fmla="*/ 2 w 26"/>
                <a:gd name="T11" fmla="*/ 21 h 28"/>
                <a:gd name="T12" fmla="*/ 6 w 26"/>
                <a:gd name="T13" fmla="*/ 4 h 28"/>
                <a:gd name="T14" fmla="*/ 10 w 26"/>
                <a:gd name="T15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8">
                  <a:moveTo>
                    <a:pt x="10" y="2"/>
                  </a:moveTo>
                  <a:cubicBezTo>
                    <a:pt x="18" y="0"/>
                    <a:pt x="24" y="4"/>
                    <a:pt x="26" y="9"/>
                  </a:cubicBezTo>
                  <a:cubicBezTo>
                    <a:pt x="26" y="14"/>
                    <a:pt x="25" y="18"/>
                    <a:pt x="23" y="21"/>
                  </a:cubicBezTo>
                  <a:cubicBezTo>
                    <a:pt x="22" y="24"/>
                    <a:pt x="21" y="26"/>
                    <a:pt x="18" y="27"/>
                  </a:cubicBezTo>
                  <a:cubicBezTo>
                    <a:pt x="17" y="27"/>
                    <a:pt x="15" y="28"/>
                    <a:pt x="14" y="28"/>
                  </a:cubicBezTo>
                  <a:cubicBezTo>
                    <a:pt x="9" y="28"/>
                    <a:pt x="4" y="25"/>
                    <a:pt x="2" y="21"/>
                  </a:cubicBezTo>
                  <a:cubicBezTo>
                    <a:pt x="0" y="15"/>
                    <a:pt x="2" y="9"/>
                    <a:pt x="6" y="4"/>
                  </a:cubicBezTo>
                  <a:cubicBezTo>
                    <a:pt x="7" y="3"/>
                    <a:pt x="8" y="2"/>
                    <a:pt x="10" y="2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588" name="íṡḻide"/>
            <p:cNvSpPr/>
            <p:nvPr userDrawn="1"/>
          </p:nvSpPr>
          <p:spPr bwMode="auto">
            <a:xfrm>
              <a:off x="2759075" y="2722563"/>
              <a:ext cx="47625" cy="39688"/>
            </a:xfrm>
            <a:custGeom>
              <a:avLst/>
              <a:gdLst>
                <a:gd name="T0" fmla="*/ 3 w 18"/>
                <a:gd name="T1" fmla="*/ 15 h 15"/>
                <a:gd name="T2" fmla="*/ 0 w 18"/>
                <a:gd name="T3" fmla="*/ 6 h 15"/>
                <a:gd name="T4" fmla="*/ 11 w 18"/>
                <a:gd name="T5" fmla="*/ 0 h 15"/>
                <a:gd name="T6" fmla="*/ 15 w 18"/>
                <a:gd name="T7" fmla="*/ 0 h 15"/>
                <a:gd name="T8" fmla="*/ 18 w 18"/>
                <a:gd name="T9" fmla="*/ 5 h 15"/>
                <a:gd name="T10" fmla="*/ 12 w 18"/>
                <a:gd name="T11" fmla="*/ 11 h 15"/>
                <a:gd name="T12" fmla="*/ 3 w 18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5">
                  <a:moveTo>
                    <a:pt x="3" y="15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3" y="4"/>
                    <a:pt x="7" y="3"/>
                    <a:pt x="11" y="0"/>
                  </a:cubicBezTo>
                  <a:cubicBezTo>
                    <a:pt x="11" y="0"/>
                    <a:pt x="13" y="1"/>
                    <a:pt x="15" y="0"/>
                  </a:cubicBezTo>
                  <a:cubicBezTo>
                    <a:pt x="16" y="2"/>
                    <a:pt x="18" y="3"/>
                    <a:pt x="18" y="5"/>
                  </a:cubicBezTo>
                  <a:cubicBezTo>
                    <a:pt x="18" y="8"/>
                    <a:pt x="15" y="9"/>
                    <a:pt x="12" y="11"/>
                  </a:cubicBezTo>
                  <a:cubicBezTo>
                    <a:pt x="9" y="13"/>
                    <a:pt x="6" y="14"/>
                    <a:pt x="3" y="15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589" name="îŝļíḋè"/>
            <p:cNvSpPr/>
            <p:nvPr userDrawn="1"/>
          </p:nvSpPr>
          <p:spPr bwMode="auto">
            <a:xfrm>
              <a:off x="3546475" y="2794000"/>
              <a:ext cx="46038" cy="42863"/>
            </a:xfrm>
            <a:custGeom>
              <a:avLst/>
              <a:gdLst>
                <a:gd name="T0" fmla="*/ 7 w 17"/>
                <a:gd name="T1" fmla="*/ 0 h 16"/>
                <a:gd name="T2" fmla="*/ 16 w 17"/>
                <a:gd name="T3" fmla="*/ 8 h 16"/>
                <a:gd name="T4" fmla="*/ 10 w 17"/>
                <a:gd name="T5" fmla="*/ 15 h 16"/>
                <a:gd name="T6" fmla="*/ 0 w 17"/>
                <a:gd name="T7" fmla="*/ 8 h 16"/>
                <a:gd name="T8" fmla="*/ 7 w 1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6">
                  <a:moveTo>
                    <a:pt x="7" y="0"/>
                  </a:moveTo>
                  <a:cubicBezTo>
                    <a:pt x="10" y="3"/>
                    <a:pt x="14" y="5"/>
                    <a:pt x="16" y="8"/>
                  </a:cubicBezTo>
                  <a:cubicBezTo>
                    <a:pt x="17" y="14"/>
                    <a:pt x="13" y="16"/>
                    <a:pt x="10" y="15"/>
                  </a:cubicBezTo>
                  <a:cubicBezTo>
                    <a:pt x="6" y="14"/>
                    <a:pt x="2" y="10"/>
                    <a:pt x="0" y="8"/>
                  </a:cubicBezTo>
                  <a:cubicBezTo>
                    <a:pt x="2" y="6"/>
                    <a:pt x="4" y="3"/>
                    <a:pt x="7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590" name="iṧḷíḍé"/>
            <p:cNvSpPr/>
            <p:nvPr userDrawn="1"/>
          </p:nvSpPr>
          <p:spPr bwMode="auto">
            <a:xfrm>
              <a:off x="2947988" y="2916238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591" name="íş1iḓê"/>
            <p:cNvSpPr/>
            <p:nvPr userDrawn="1"/>
          </p:nvSpPr>
          <p:spPr bwMode="auto">
            <a:xfrm>
              <a:off x="2947988" y="2916238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592" name="ï$ḷíḍe"/>
            <p:cNvSpPr/>
            <p:nvPr userDrawn="1"/>
          </p:nvSpPr>
          <p:spPr bwMode="auto">
            <a:xfrm>
              <a:off x="2947988" y="2916238"/>
              <a:ext cx="3175" cy="3175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0"/>
                    <a:pt x="1" y="0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593" name="iṩļïḑé"/>
            <p:cNvSpPr/>
            <p:nvPr userDrawn="1"/>
          </p:nvSpPr>
          <p:spPr bwMode="auto">
            <a:xfrm>
              <a:off x="2951163" y="2919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594" name="iśḻíḑê"/>
            <p:cNvSpPr/>
            <p:nvPr userDrawn="1"/>
          </p:nvSpPr>
          <p:spPr bwMode="auto">
            <a:xfrm>
              <a:off x="2894013" y="2940050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595" name="íṧḻîḍè"/>
            <p:cNvSpPr/>
            <p:nvPr userDrawn="1"/>
          </p:nvSpPr>
          <p:spPr bwMode="auto">
            <a:xfrm>
              <a:off x="2894013" y="2940050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596" name="ïs1íḓé"/>
            <p:cNvSpPr/>
            <p:nvPr userDrawn="1"/>
          </p:nvSpPr>
          <p:spPr bwMode="auto">
            <a:xfrm>
              <a:off x="3767138" y="3044825"/>
              <a:ext cx="39688" cy="50800"/>
            </a:xfrm>
            <a:custGeom>
              <a:avLst/>
              <a:gdLst>
                <a:gd name="T0" fmla="*/ 0 w 15"/>
                <a:gd name="T1" fmla="*/ 4 h 19"/>
                <a:gd name="T2" fmla="*/ 8 w 15"/>
                <a:gd name="T3" fmla="*/ 0 h 19"/>
                <a:gd name="T4" fmla="*/ 9 w 15"/>
                <a:gd name="T5" fmla="*/ 0 h 19"/>
                <a:gd name="T6" fmla="*/ 12 w 15"/>
                <a:gd name="T7" fmla="*/ 7 h 19"/>
                <a:gd name="T8" fmla="*/ 15 w 15"/>
                <a:gd name="T9" fmla="*/ 14 h 19"/>
                <a:gd name="T10" fmla="*/ 7 w 15"/>
                <a:gd name="T11" fmla="*/ 17 h 19"/>
                <a:gd name="T12" fmla="*/ 0 w 15"/>
                <a:gd name="T13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9">
                  <a:moveTo>
                    <a:pt x="0" y="4"/>
                  </a:moveTo>
                  <a:cubicBezTo>
                    <a:pt x="3" y="3"/>
                    <a:pt x="6" y="2"/>
                    <a:pt x="8" y="0"/>
                  </a:cubicBezTo>
                  <a:cubicBezTo>
                    <a:pt x="8" y="0"/>
                    <a:pt x="8" y="0"/>
                    <a:pt x="9" y="0"/>
                  </a:cubicBezTo>
                  <a:cubicBezTo>
                    <a:pt x="9" y="2"/>
                    <a:pt x="11" y="4"/>
                    <a:pt x="12" y="7"/>
                  </a:cubicBezTo>
                  <a:cubicBezTo>
                    <a:pt x="13" y="9"/>
                    <a:pt x="15" y="12"/>
                    <a:pt x="15" y="14"/>
                  </a:cubicBezTo>
                  <a:cubicBezTo>
                    <a:pt x="15" y="17"/>
                    <a:pt x="11" y="19"/>
                    <a:pt x="7" y="17"/>
                  </a:cubicBezTo>
                  <a:cubicBezTo>
                    <a:pt x="4" y="13"/>
                    <a:pt x="2" y="9"/>
                    <a:pt x="0" y="4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597" name="ïśļïḋê"/>
            <p:cNvSpPr/>
            <p:nvPr userDrawn="1"/>
          </p:nvSpPr>
          <p:spPr bwMode="auto">
            <a:xfrm>
              <a:off x="3459163" y="3076575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598" name="iSlíḋê"/>
            <p:cNvSpPr/>
            <p:nvPr userDrawn="1"/>
          </p:nvSpPr>
          <p:spPr bwMode="auto">
            <a:xfrm>
              <a:off x="3459163" y="3076575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599" name="ïśliḋe"/>
            <p:cNvSpPr/>
            <p:nvPr userDrawn="1"/>
          </p:nvSpPr>
          <p:spPr bwMode="auto">
            <a:xfrm>
              <a:off x="3783013" y="3159125"/>
              <a:ext cx="73025" cy="69850"/>
            </a:xfrm>
            <a:custGeom>
              <a:avLst/>
              <a:gdLst>
                <a:gd name="T0" fmla="*/ 27 w 27"/>
                <a:gd name="T1" fmla="*/ 16 h 26"/>
                <a:gd name="T2" fmla="*/ 8 w 27"/>
                <a:gd name="T3" fmla="*/ 25 h 26"/>
                <a:gd name="T4" fmla="*/ 0 w 27"/>
                <a:gd name="T5" fmla="*/ 11 h 26"/>
                <a:gd name="T6" fmla="*/ 2 w 27"/>
                <a:gd name="T7" fmla="*/ 8 h 26"/>
                <a:gd name="T8" fmla="*/ 4 w 27"/>
                <a:gd name="T9" fmla="*/ 5 h 26"/>
                <a:gd name="T10" fmla="*/ 14 w 27"/>
                <a:gd name="T11" fmla="*/ 1 h 26"/>
                <a:gd name="T12" fmla="*/ 27 w 27"/>
                <a:gd name="T13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6">
                  <a:moveTo>
                    <a:pt x="27" y="16"/>
                  </a:moveTo>
                  <a:cubicBezTo>
                    <a:pt x="25" y="23"/>
                    <a:pt x="17" y="26"/>
                    <a:pt x="8" y="25"/>
                  </a:cubicBezTo>
                  <a:cubicBezTo>
                    <a:pt x="3" y="23"/>
                    <a:pt x="0" y="19"/>
                    <a:pt x="0" y="11"/>
                  </a:cubicBezTo>
                  <a:cubicBezTo>
                    <a:pt x="0" y="10"/>
                    <a:pt x="1" y="9"/>
                    <a:pt x="2" y="8"/>
                  </a:cubicBezTo>
                  <a:cubicBezTo>
                    <a:pt x="3" y="7"/>
                    <a:pt x="3" y="6"/>
                    <a:pt x="4" y="5"/>
                  </a:cubicBezTo>
                  <a:cubicBezTo>
                    <a:pt x="6" y="3"/>
                    <a:pt x="11" y="1"/>
                    <a:pt x="14" y="1"/>
                  </a:cubicBezTo>
                  <a:cubicBezTo>
                    <a:pt x="22" y="0"/>
                    <a:pt x="27" y="6"/>
                    <a:pt x="27" y="16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00" name="î$liḓe"/>
            <p:cNvSpPr/>
            <p:nvPr userDrawn="1"/>
          </p:nvSpPr>
          <p:spPr bwMode="auto">
            <a:xfrm>
              <a:off x="3384550" y="3244850"/>
              <a:ext cx="7938" cy="3175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0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1"/>
                    <a:pt x="3" y="0"/>
                    <a:pt x="3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01" name="iśḻîḑè"/>
            <p:cNvSpPr/>
            <p:nvPr userDrawn="1"/>
          </p:nvSpPr>
          <p:spPr bwMode="auto">
            <a:xfrm>
              <a:off x="2368550" y="3257550"/>
              <a:ext cx="36513" cy="30163"/>
            </a:xfrm>
            <a:custGeom>
              <a:avLst/>
              <a:gdLst>
                <a:gd name="T0" fmla="*/ 14 w 14"/>
                <a:gd name="T1" fmla="*/ 0 h 11"/>
                <a:gd name="T2" fmla="*/ 12 w 14"/>
                <a:gd name="T3" fmla="*/ 11 h 11"/>
                <a:gd name="T4" fmla="*/ 3 w 14"/>
                <a:gd name="T5" fmla="*/ 5 h 11"/>
                <a:gd name="T6" fmla="*/ 0 w 14"/>
                <a:gd name="T7" fmla="*/ 3 h 11"/>
                <a:gd name="T8" fmla="*/ 14 w 14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1">
                  <a:moveTo>
                    <a:pt x="14" y="0"/>
                  </a:moveTo>
                  <a:cubicBezTo>
                    <a:pt x="14" y="4"/>
                    <a:pt x="13" y="8"/>
                    <a:pt x="12" y="11"/>
                  </a:cubicBezTo>
                  <a:cubicBezTo>
                    <a:pt x="9" y="10"/>
                    <a:pt x="6" y="7"/>
                    <a:pt x="3" y="5"/>
                  </a:cubicBezTo>
                  <a:cubicBezTo>
                    <a:pt x="2" y="4"/>
                    <a:pt x="0" y="4"/>
                    <a:pt x="0" y="3"/>
                  </a:cubicBezTo>
                  <a:cubicBezTo>
                    <a:pt x="5" y="2"/>
                    <a:pt x="9" y="1"/>
                    <a:pt x="14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02" name="ïṧļïďè"/>
            <p:cNvSpPr/>
            <p:nvPr userDrawn="1"/>
          </p:nvSpPr>
          <p:spPr bwMode="auto">
            <a:xfrm>
              <a:off x="3313113" y="3416300"/>
              <a:ext cx="1588" cy="1588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03" name="ï$ḻïdé"/>
            <p:cNvSpPr/>
            <p:nvPr userDrawn="1"/>
          </p:nvSpPr>
          <p:spPr bwMode="auto">
            <a:xfrm>
              <a:off x="3314700" y="3417888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04" name="îşļiḓe"/>
            <p:cNvSpPr/>
            <p:nvPr userDrawn="1"/>
          </p:nvSpPr>
          <p:spPr bwMode="auto">
            <a:xfrm>
              <a:off x="3314700" y="3417888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05" name="ïŝḷiḓé"/>
            <p:cNvSpPr/>
            <p:nvPr userDrawn="1"/>
          </p:nvSpPr>
          <p:spPr bwMode="auto">
            <a:xfrm>
              <a:off x="3136900" y="3632200"/>
              <a:ext cx="3175" cy="3175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1"/>
                    <a:pt x="1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06" name="íšļîďe"/>
            <p:cNvSpPr/>
            <p:nvPr userDrawn="1"/>
          </p:nvSpPr>
          <p:spPr bwMode="auto">
            <a:xfrm>
              <a:off x="3322638" y="3636963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07" name="iŝľïḑè"/>
            <p:cNvSpPr/>
            <p:nvPr userDrawn="1"/>
          </p:nvSpPr>
          <p:spPr bwMode="auto">
            <a:xfrm>
              <a:off x="3322638" y="3636963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08" name="işľiḋe"/>
            <p:cNvSpPr/>
            <p:nvPr userDrawn="1"/>
          </p:nvSpPr>
          <p:spPr bwMode="auto">
            <a:xfrm>
              <a:off x="3141663" y="3730625"/>
              <a:ext cx="3175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09" name="iṧ1îḑê"/>
            <p:cNvSpPr/>
            <p:nvPr userDrawn="1"/>
          </p:nvSpPr>
          <p:spPr bwMode="auto">
            <a:xfrm>
              <a:off x="3560763" y="3856038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10" name="íSľïḑê"/>
            <p:cNvSpPr/>
            <p:nvPr userDrawn="1"/>
          </p:nvSpPr>
          <p:spPr bwMode="auto">
            <a:xfrm>
              <a:off x="3560763" y="3856038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11" name="îš1iḑe"/>
            <p:cNvSpPr/>
            <p:nvPr userDrawn="1"/>
          </p:nvSpPr>
          <p:spPr bwMode="auto">
            <a:xfrm>
              <a:off x="3560763" y="3859213"/>
              <a:ext cx="1588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12" name="îṡlïďè"/>
            <p:cNvSpPr/>
            <p:nvPr userDrawn="1"/>
          </p:nvSpPr>
          <p:spPr bwMode="auto">
            <a:xfrm>
              <a:off x="3003550" y="3922713"/>
              <a:ext cx="46038" cy="74613"/>
            </a:xfrm>
            <a:custGeom>
              <a:avLst/>
              <a:gdLst>
                <a:gd name="T0" fmla="*/ 17 w 17"/>
                <a:gd name="T1" fmla="*/ 0 h 28"/>
                <a:gd name="T2" fmla="*/ 17 w 17"/>
                <a:gd name="T3" fmla="*/ 28 h 28"/>
                <a:gd name="T4" fmla="*/ 9 w 17"/>
                <a:gd name="T5" fmla="*/ 28 h 28"/>
                <a:gd name="T6" fmla="*/ 9 w 17"/>
                <a:gd name="T7" fmla="*/ 10 h 28"/>
                <a:gd name="T8" fmla="*/ 0 w 17"/>
                <a:gd name="T9" fmla="*/ 14 h 28"/>
                <a:gd name="T10" fmla="*/ 0 w 17"/>
                <a:gd name="T11" fmla="*/ 8 h 28"/>
                <a:gd name="T12" fmla="*/ 10 w 17"/>
                <a:gd name="T13" fmla="*/ 0 h 28"/>
                <a:gd name="T14" fmla="*/ 17 w 17"/>
                <a:gd name="T1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28">
                  <a:moveTo>
                    <a:pt x="17" y="0"/>
                  </a:moveTo>
                  <a:cubicBezTo>
                    <a:pt x="17" y="28"/>
                    <a:pt x="17" y="28"/>
                    <a:pt x="17" y="28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6" y="11"/>
                    <a:pt x="4" y="14"/>
                    <a:pt x="0" y="1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5" y="6"/>
                    <a:pt x="8" y="4"/>
                    <a:pt x="10" y="0"/>
                  </a:cubicBezTo>
                  <a:lnTo>
                    <a:pt x="17" y="0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13" name="iṣľiḓê"/>
            <p:cNvSpPr/>
            <p:nvPr userDrawn="1"/>
          </p:nvSpPr>
          <p:spPr bwMode="auto">
            <a:xfrm>
              <a:off x="3067050" y="3919538"/>
              <a:ext cx="61913" cy="80963"/>
            </a:xfrm>
            <a:custGeom>
              <a:avLst/>
              <a:gdLst>
                <a:gd name="T0" fmla="*/ 7 w 23"/>
                <a:gd name="T1" fmla="*/ 8 h 30"/>
                <a:gd name="T2" fmla="*/ 11 w 23"/>
                <a:gd name="T3" fmla="*/ 15 h 30"/>
                <a:gd name="T4" fmla="*/ 13 w 23"/>
                <a:gd name="T5" fmla="*/ 6 h 30"/>
                <a:gd name="T6" fmla="*/ 7 w 23"/>
                <a:gd name="T7" fmla="*/ 8 h 30"/>
                <a:gd name="T8" fmla="*/ 0 w 23"/>
                <a:gd name="T9" fmla="*/ 23 h 30"/>
                <a:gd name="T10" fmla="*/ 7 w 23"/>
                <a:gd name="T11" fmla="*/ 22 h 30"/>
                <a:gd name="T12" fmla="*/ 8 w 23"/>
                <a:gd name="T13" fmla="*/ 24 h 30"/>
                <a:gd name="T14" fmla="*/ 10 w 23"/>
                <a:gd name="T15" fmla="*/ 25 h 30"/>
                <a:gd name="T16" fmla="*/ 14 w 23"/>
                <a:gd name="T17" fmla="*/ 18 h 30"/>
                <a:gd name="T18" fmla="*/ 13 w 23"/>
                <a:gd name="T19" fmla="*/ 19 h 30"/>
                <a:gd name="T20" fmla="*/ 5 w 23"/>
                <a:gd name="T21" fmla="*/ 20 h 30"/>
                <a:gd name="T22" fmla="*/ 0 w 23"/>
                <a:gd name="T23" fmla="*/ 13 h 30"/>
                <a:gd name="T24" fmla="*/ 0 w 23"/>
                <a:gd name="T25" fmla="*/ 8 h 30"/>
                <a:gd name="T26" fmla="*/ 0 w 23"/>
                <a:gd name="T27" fmla="*/ 6 h 30"/>
                <a:gd name="T28" fmla="*/ 1 w 23"/>
                <a:gd name="T29" fmla="*/ 6 h 30"/>
                <a:gd name="T30" fmla="*/ 13 w 23"/>
                <a:gd name="T31" fmla="*/ 1 h 30"/>
                <a:gd name="T32" fmla="*/ 17 w 23"/>
                <a:gd name="T33" fmla="*/ 2 h 30"/>
                <a:gd name="T34" fmla="*/ 22 w 23"/>
                <a:gd name="T35" fmla="*/ 19 h 30"/>
                <a:gd name="T36" fmla="*/ 11 w 23"/>
                <a:gd name="T37" fmla="*/ 30 h 30"/>
                <a:gd name="T38" fmla="*/ 2 w 23"/>
                <a:gd name="T39" fmla="*/ 27 h 30"/>
                <a:gd name="T40" fmla="*/ 0 w 23"/>
                <a:gd name="T41" fmla="*/ 2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" h="30">
                  <a:moveTo>
                    <a:pt x="7" y="8"/>
                  </a:moveTo>
                  <a:cubicBezTo>
                    <a:pt x="7" y="13"/>
                    <a:pt x="8" y="15"/>
                    <a:pt x="11" y="15"/>
                  </a:cubicBezTo>
                  <a:cubicBezTo>
                    <a:pt x="15" y="15"/>
                    <a:pt x="15" y="9"/>
                    <a:pt x="13" y="6"/>
                  </a:cubicBezTo>
                  <a:cubicBezTo>
                    <a:pt x="10" y="5"/>
                    <a:pt x="8" y="7"/>
                    <a:pt x="7" y="8"/>
                  </a:cubicBezTo>
                  <a:close/>
                  <a:moveTo>
                    <a:pt x="0" y="23"/>
                  </a:moveTo>
                  <a:cubicBezTo>
                    <a:pt x="3" y="23"/>
                    <a:pt x="5" y="22"/>
                    <a:pt x="7" y="22"/>
                  </a:cubicBezTo>
                  <a:cubicBezTo>
                    <a:pt x="8" y="22"/>
                    <a:pt x="8" y="23"/>
                    <a:pt x="8" y="24"/>
                  </a:cubicBezTo>
                  <a:cubicBezTo>
                    <a:pt x="9" y="24"/>
                    <a:pt x="10" y="24"/>
                    <a:pt x="10" y="25"/>
                  </a:cubicBezTo>
                  <a:cubicBezTo>
                    <a:pt x="14" y="25"/>
                    <a:pt x="14" y="22"/>
                    <a:pt x="14" y="18"/>
                  </a:cubicBezTo>
                  <a:cubicBezTo>
                    <a:pt x="14" y="17"/>
                    <a:pt x="14" y="19"/>
                    <a:pt x="13" y="19"/>
                  </a:cubicBezTo>
                  <a:cubicBezTo>
                    <a:pt x="11" y="21"/>
                    <a:pt x="7" y="20"/>
                    <a:pt x="5" y="20"/>
                  </a:cubicBezTo>
                  <a:cubicBezTo>
                    <a:pt x="2" y="18"/>
                    <a:pt x="1" y="16"/>
                    <a:pt x="0" y="13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3" y="2"/>
                    <a:pt x="7" y="0"/>
                    <a:pt x="13" y="1"/>
                  </a:cubicBezTo>
                  <a:cubicBezTo>
                    <a:pt x="14" y="1"/>
                    <a:pt x="16" y="2"/>
                    <a:pt x="17" y="2"/>
                  </a:cubicBezTo>
                  <a:cubicBezTo>
                    <a:pt x="21" y="4"/>
                    <a:pt x="23" y="11"/>
                    <a:pt x="22" y="19"/>
                  </a:cubicBezTo>
                  <a:cubicBezTo>
                    <a:pt x="22" y="25"/>
                    <a:pt x="18" y="30"/>
                    <a:pt x="11" y="30"/>
                  </a:cubicBezTo>
                  <a:cubicBezTo>
                    <a:pt x="7" y="30"/>
                    <a:pt x="4" y="29"/>
                    <a:pt x="2" y="27"/>
                  </a:cubicBezTo>
                  <a:cubicBezTo>
                    <a:pt x="2" y="26"/>
                    <a:pt x="0" y="24"/>
                    <a:pt x="0" y="23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14" name="îşľîďê"/>
            <p:cNvSpPr/>
            <p:nvPr userDrawn="1"/>
          </p:nvSpPr>
          <p:spPr bwMode="auto">
            <a:xfrm>
              <a:off x="3198813" y="3919538"/>
              <a:ext cx="63500" cy="80963"/>
            </a:xfrm>
            <a:custGeom>
              <a:avLst/>
              <a:gdLst>
                <a:gd name="T0" fmla="*/ 18 w 24"/>
                <a:gd name="T1" fmla="*/ 14 h 30"/>
                <a:gd name="T2" fmla="*/ 22 w 24"/>
                <a:gd name="T3" fmla="*/ 16 h 30"/>
                <a:gd name="T4" fmla="*/ 22 w 24"/>
                <a:gd name="T5" fmla="*/ 25 h 30"/>
                <a:gd name="T6" fmla="*/ 12 w 24"/>
                <a:gd name="T7" fmla="*/ 30 h 30"/>
                <a:gd name="T8" fmla="*/ 0 w 24"/>
                <a:gd name="T9" fmla="*/ 22 h 30"/>
                <a:gd name="T10" fmla="*/ 4 w 24"/>
                <a:gd name="T11" fmla="*/ 21 h 30"/>
                <a:gd name="T12" fmla="*/ 8 w 24"/>
                <a:gd name="T13" fmla="*/ 21 h 30"/>
                <a:gd name="T14" fmla="*/ 12 w 24"/>
                <a:gd name="T15" fmla="*/ 25 h 30"/>
                <a:gd name="T16" fmla="*/ 13 w 24"/>
                <a:gd name="T17" fmla="*/ 17 h 30"/>
                <a:gd name="T18" fmla="*/ 9 w 24"/>
                <a:gd name="T19" fmla="*/ 17 h 30"/>
                <a:gd name="T20" fmla="*/ 10 w 24"/>
                <a:gd name="T21" fmla="*/ 12 h 30"/>
                <a:gd name="T22" fmla="*/ 14 w 24"/>
                <a:gd name="T23" fmla="*/ 10 h 30"/>
                <a:gd name="T24" fmla="*/ 8 w 24"/>
                <a:gd name="T25" fmla="*/ 10 h 30"/>
                <a:gd name="T26" fmla="*/ 0 w 24"/>
                <a:gd name="T27" fmla="*/ 8 h 30"/>
                <a:gd name="T28" fmla="*/ 14 w 24"/>
                <a:gd name="T29" fmla="*/ 1 h 30"/>
                <a:gd name="T30" fmla="*/ 19 w 24"/>
                <a:gd name="T31" fmla="*/ 3 h 30"/>
                <a:gd name="T32" fmla="*/ 18 w 24"/>
                <a:gd name="T33" fmla="*/ 1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30">
                  <a:moveTo>
                    <a:pt x="18" y="14"/>
                  </a:moveTo>
                  <a:cubicBezTo>
                    <a:pt x="19" y="15"/>
                    <a:pt x="21" y="15"/>
                    <a:pt x="22" y="16"/>
                  </a:cubicBezTo>
                  <a:cubicBezTo>
                    <a:pt x="24" y="19"/>
                    <a:pt x="23" y="22"/>
                    <a:pt x="22" y="25"/>
                  </a:cubicBezTo>
                  <a:cubicBezTo>
                    <a:pt x="21" y="28"/>
                    <a:pt x="17" y="30"/>
                    <a:pt x="12" y="30"/>
                  </a:cubicBezTo>
                  <a:cubicBezTo>
                    <a:pt x="6" y="30"/>
                    <a:pt x="1" y="27"/>
                    <a:pt x="0" y="22"/>
                  </a:cubicBezTo>
                  <a:cubicBezTo>
                    <a:pt x="0" y="21"/>
                    <a:pt x="3" y="22"/>
                    <a:pt x="4" y="21"/>
                  </a:cubicBezTo>
                  <a:cubicBezTo>
                    <a:pt x="6" y="22"/>
                    <a:pt x="6" y="21"/>
                    <a:pt x="8" y="21"/>
                  </a:cubicBezTo>
                  <a:cubicBezTo>
                    <a:pt x="9" y="23"/>
                    <a:pt x="10" y="25"/>
                    <a:pt x="12" y="25"/>
                  </a:cubicBezTo>
                  <a:cubicBezTo>
                    <a:pt x="15" y="25"/>
                    <a:pt x="17" y="19"/>
                    <a:pt x="13" y="17"/>
                  </a:cubicBezTo>
                  <a:cubicBezTo>
                    <a:pt x="12" y="17"/>
                    <a:pt x="10" y="17"/>
                    <a:pt x="9" y="17"/>
                  </a:cubicBezTo>
                  <a:cubicBezTo>
                    <a:pt x="9" y="15"/>
                    <a:pt x="9" y="13"/>
                    <a:pt x="10" y="12"/>
                  </a:cubicBezTo>
                  <a:cubicBezTo>
                    <a:pt x="12" y="12"/>
                    <a:pt x="13" y="11"/>
                    <a:pt x="14" y="10"/>
                  </a:cubicBezTo>
                  <a:cubicBezTo>
                    <a:pt x="15" y="4"/>
                    <a:pt x="8" y="5"/>
                    <a:pt x="8" y="10"/>
                  </a:cubicBezTo>
                  <a:cubicBezTo>
                    <a:pt x="6" y="9"/>
                    <a:pt x="3" y="9"/>
                    <a:pt x="0" y="8"/>
                  </a:cubicBezTo>
                  <a:cubicBezTo>
                    <a:pt x="1" y="3"/>
                    <a:pt x="7" y="0"/>
                    <a:pt x="14" y="1"/>
                  </a:cubicBezTo>
                  <a:cubicBezTo>
                    <a:pt x="16" y="1"/>
                    <a:pt x="18" y="2"/>
                    <a:pt x="19" y="3"/>
                  </a:cubicBezTo>
                  <a:cubicBezTo>
                    <a:pt x="23" y="5"/>
                    <a:pt x="23" y="11"/>
                    <a:pt x="18" y="14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15" name="îṣľïdê"/>
            <p:cNvSpPr/>
            <p:nvPr userDrawn="1"/>
          </p:nvSpPr>
          <p:spPr bwMode="auto">
            <a:xfrm>
              <a:off x="3132138" y="3922713"/>
              <a:ext cx="63500" cy="77788"/>
            </a:xfrm>
            <a:custGeom>
              <a:avLst/>
              <a:gdLst>
                <a:gd name="T0" fmla="*/ 22 w 24"/>
                <a:gd name="T1" fmla="*/ 0 h 29"/>
                <a:gd name="T2" fmla="*/ 22 w 24"/>
                <a:gd name="T3" fmla="*/ 7 h 29"/>
                <a:gd name="T4" fmla="*/ 10 w 24"/>
                <a:gd name="T5" fmla="*/ 7 h 29"/>
                <a:gd name="T6" fmla="*/ 9 w 24"/>
                <a:gd name="T7" fmla="*/ 10 h 29"/>
                <a:gd name="T8" fmla="*/ 13 w 24"/>
                <a:gd name="T9" fmla="*/ 10 h 29"/>
                <a:gd name="T10" fmla="*/ 16 w 24"/>
                <a:gd name="T11" fmla="*/ 10 h 29"/>
                <a:gd name="T12" fmla="*/ 21 w 24"/>
                <a:gd name="T13" fmla="*/ 12 h 29"/>
                <a:gd name="T14" fmla="*/ 22 w 24"/>
                <a:gd name="T15" fmla="*/ 13 h 29"/>
                <a:gd name="T16" fmla="*/ 23 w 24"/>
                <a:gd name="T17" fmla="*/ 15 h 29"/>
                <a:gd name="T18" fmla="*/ 24 w 24"/>
                <a:gd name="T19" fmla="*/ 18 h 29"/>
                <a:gd name="T20" fmla="*/ 12 w 24"/>
                <a:gd name="T21" fmla="*/ 29 h 29"/>
                <a:gd name="T22" fmla="*/ 5 w 24"/>
                <a:gd name="T23" fmla="*/ 27 h 29"/>
                <a:gd name="T24" fmla="*/ 0 w 24"/>
                <a:gd name="T25" fmla="*/ 21 h 29"/>
                <a:gd name="T26" fmla="*/ 8 w 24"/>
                <a:gd name="T27" fmla="*/ 20 h 29"/>
                <a:gd name="T28" fmla="*/ 9 w 24"/>
                <a:gd name="T29" fmla="*/ 23 h 29"/>
                <a:gd name="T30" fmla="*/ 11 w 24"/>
                <a:gd name="T31" fmla="*/ 24 h 29"/>
                <a:gd name="T32" fmla="*/ 13 w 24"/>
                <a:gd name="T33" fmla="*/ 15 h 29"/>
                <a:gd name="T34" fmla="*/ 8 w 24"/>
                <a:gd name="T35" fmla="*/ 16 h 29"/>
                <a:gd name="T36" fmla="*/ 1 w 24"/>
                <a:gd name="T37" fmla="*/ 16 h 29"/>
                <a:gd name="T38" fmla="*/ 4 w 24"/>
                <a:gd name="T39" fmla="*/ 0 h 29"/>
                <a:gd name="T40" fmla="*/ 22 w 24"/>
                <a:gd name="T4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" h="29">
                  <a:moveTo>
                    <a:pt x="22" y="0"/>
                  </a:moveTo>
                  <a:cubicBezTo>
                    <a:pt x="22" y="7"/>
                    <a:pt x="22" y="7"/>
                    <a:pt x="22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10" y="9"/>
                    <a:pt x="9" y="10"/>
                  </a:cubicBezTo>
                  <a:cubicBezTo>
                    <a:pt x="10" y="11"/>
                    <a:pt x="11" y="10"/>
                    <a:pt x="13" y="10"/>
                  </a:cubicBezTo>
                  <a:cubicBezTo>
                    <a:pt x="14" y="9"/>
                    <a:pt x="15" y="9"/>
                    <a:pt x="16" y="10"/>
                  </a:cubicBezTo>
                  <a:cubicBezTo>
                    <a:pt x="18" y="10"/>
                    <a:pt x="20" y="11"/>
                    <a:pt x="21" y="12"/>
                  </a:cubicBezTo>
                  <a:cubicBezTo>
                    <a:pt x="22" y="13"/>
                    <a:pt x="21" y="13"/>
                    <a:pt x="22" y="13"/>
                  </a:cubicBezTo>
                  <a:cubicBezTo>
                    <a:pt x="22" y="14"/>
                    <a:pt x="23" y="15"/>
                    <a:pt x="23" y="15"/>
                  </a:cubicBezTo>
                  <a:cubicBezTo>
                    <a:pt x="23" y="16"/>
                    <a:pt x="24" y="17"/>
                    <a:pt x="24" y="18"/>
                  </a:cubicBezTo>
                  <a:cubicBezTo>
                    <a:pt x="24" y="25"/>
                    <a:pt x="18" y="29"/>
                    <a:pt x="12" y="29"/>
                  </a:cubicBezTo>
                  <a:cubicBezTo>
                    <a:pt x="10" y="29"/>
                    <a:pt x="6" y="28"/>
                    <a:pt x="5" y="27"/>
                  </a:cubicBezTo>
                  <a:cubicBezTo>
                    <a:pt x="3" y="26"/>
                    <a:pt x="1" y="24"/>
                    <a:pt x="0" y="21"/>
                  </a:cubicBezTo>
                  <a:cubicBezTo>
                    <a:pt x="3" y="21"/>
                    <a:pt x="5" y="20"/>
                    <a:pt x="8" y="20"/>
                  </a:cubicBezTo>
                  <a:cubicBezTo>
                    <a:pt x="9" y="20"/>
                    <a:pt x="8" y="22"/>
                    <a:pt x="9" y="23"/>
                  </a:cubicBezTo>
                  <a:cubicBezTo>
                    <a:pt x="10" y="23"/>
                    <a:pt x="11" y="24"/>
                    <a:pt x="11" y="24"/>
                  </a:cubicBezTo>
                  <a:cubicBezTo>
                    <a:pt x="16" y="25"/>
                    <a:pt x="17" y="15"/>
                    <a:pt x="13" y="15"/>
                  </a:cubicBezTo>
                  <a:cubicBezTo>
                    <a:pt x="10" y="14"/>
                    <a:pt x="9" y="16"/>
                    <a:pt x="8" y="16"/>
                  </a:cubicBezTo>
                  <a:cubicBezTo>
                    <a:pt x="5" y="16"/>
                    <a:pt x="4" y="16"/>
                    <a:pt x="1" y="16"/>
                  </a:cubicBezTo>
                  <a:cubicBezTo>
                    <a:pt x="2" y="11"/>
                    <a:pt x="3" y="5"/>
                    <a:pt x="4" y="0"/>
                  </a:cubicBezTo>
                  <a:lnTo>
                    <a:pt x="22" y="0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16" name="î$líḍé"/>
            <p:cNvSpPr/>
            <p:nvPr userDrawn="1"/>
          </p:nvSpPr>
          <p:spPr bwMode="auto">
            <a:xfrm>
              <a:off x="3581400" y="3973513"/>
              <a:ext cx="0" cy="3175"/>
            </a:xfrm>
            <a:custGeom>
              <a:avLst/>
              <a:gdLst>
                <a:gd name="T0" fmla="*/ 0 h 1"/>
                <a:gd name="T1" fmla="*/ 0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17" name="í$ľíḋê"/>
            <p:cNvSpPr/>
            <p:nvPr userDrawn="1"/>
          </p:nvSpPr>
          <p:spPr bwMode="auto">
            <a:xfrm>
              <a:off x="3581400" y="3973513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18" name="ï$ḻïḍê"/>
            <p:cNvSpPr/>
            <p:nvPr userDrawn="1"/>
          </p:nvSpPr>
          <p:spPr bwMode="auto">
            <a:xfrm>
              <a:off x="3581400" y="3973513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19" name="íṡlîdé"/>
            <p:cNvSpPr/>
            <p:nvPr userDrawn="1"/>
          </p:nvSpPr>
          <p:spPr bwMode="auto">
            <a:xfrm>
              <a:off x="2673350" y="3986213"/>
              <a:ext cx="22225" cy="11113"/>
            </a:xfrm>
            <a:custGeom>
              <a:avLst/>
              <a:gdLst>
                <a:gd name="T0" fmla="*/ 4 w 8"/>
                <a:gd name="T1" fmla="*/ 0 h 4"/>
                <a:gd name="T2" fmla="*/ 8 w 8"/>
                <a:gd name="T3" fmla="*/ 2 h 4"/>
                <a:gd name="T4" fmla="*/ 0 w 8"/>
                <a:gd name="T5" fmla="*/ 4 h 4"/>
                <a:gd name="T6" fmla="*/ 4 w 8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4">
                  <a:moveTo>
                    <a:pt x="4" y="0"/>
                  </a:moveTo>
                  <a:cubicBezTo>
                    <a:pt x="5" y="1"/>
                    <a:pt x="7" y="2"/>
                    <a:pt x="8" y="2"/>
                  </a:cubicBezTo>
                  <a:cubicBezTo>
                    <a:pt x="6" y="4"/>
                    <a:pt x="3" y="3"/>
                    <a:pt x="0" y="4"/>
                  </a:cubicBezTo>
                  <a:cubicBezTo>
                    <a:pt x="1" y="3"/>
                    <a:pt x="3" y="1"/>
                    <a:pt x="4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20" name="îš1iḍê"/>
            <p:cNvSpPr/>
            <p:nvPr userDrawn="1"/>
          </p:nvSpPr>
          <p:spPr bwMode="auto">
            <a:xfrm>
              <a:off x="2822575" y="4083050"/>
              <a:ext cx="7938" cy="20638"/>
            </a:xfrm>
            <a:custGeom>
              <a:avLst/>
              <a:gdLst>
                <a:gd name="T0" fmla="*/ 0 w 3"/>
                <a:gd name="T1" fmla="*/ 1 h 8"/>
                <a:gd name="T2" fmla="*/ 2 w 3"/>
                <a:gd name="T3" fmla="*/ 0 h 8"/>
                <a:gd name="T4" fmla="*/ 3 w 3"/>
                <a:gd name="T5" fmla="*/ 8 h 8"/>
                <a:gd name="T6" fmla="*/ 1 w 3"/>
                <a:gd name="T7" fmla="*/ 4 h 8"/>
                <a:gd name="T8" fmla="*/ 0 w 3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8">
                  <a:moveTo>
                    <a:pt x="0" y="1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2" y="3"/>
                    <a:pt x="3" y="5"/>
                    <a:pt x="3" y="8"/>
                  </a:cubicBezTo>
                  <a:cubicBezTo>
                    <a:pt x="1" y="8"/>
                    <a:pt x="1" y="5"/>
                    <a:pt x="1" y="4"/>
                  </a:cubicBezTo>
                  <a:cubicBezTo>
                    <a:pt x="1" y="3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21" name="îşlîḍé"/>
            <p:cNvSpPr/>
            <p:nvPr userDrawn="1"/>
          </p:nvSpPr>
          <p:spPr bwMode="auto">
            <a:xfrm>
              <a:off x="2786063" y="4095750"/>
              <a:ext cx="36513" cy="14288"/>
            </a:xfrm>
            <a:custGeom>
              <a:avLst/>
              <a:gdLst>
                <a:gd name="T0" fmla="*/ 14 w 14"/>
                <a:gd name="T1" fmla="*/ 2 h 5"/>
                <a:gd name="T2" fmla="*/ 0 w 14"/>
                <a:gd name="T3" fmla="*/ 5 h 5"/>
                <a:gd name="T4" fmla="*/ 6 w 14"/>
                <a:gd name="T5" fmla="*/ 3 h 5"/>
                <a:gd name="T6" fmla="*/ 12 w 14"/>
                <a:gd name="T7" fmla="*/ 1 h 5"/>
                <a:gd name="T8" fmla="*/ 14 w 14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5">
                  <a:moveTo>
                    <a:pt x="14" y="2"/>
                  </a:moveTo>
                  <a:cubicBezTo>
                    <a:pt x="11" y="5"/>
                    <a:pt x="5" y="4"/>
                    <a:pt x="0" y="5"/>
                  </a:cubicBezTo>
                  <a:cubicBezTo>
                    <a:pt x="1" y="3"/>
                    <a:pt x="4" y="4"/>
                    <a:pt x="6" y="3"/>
                  </a:cubicBezTo>
                  <a:cubicBezTo>
                    <a:pt x="8" y="3"/>
                    <a:pt x="11" y="2"/>
                    <a:pt x="12" y="1"/>
                  </a:cubicBezTo>
                  <a:cubicBezTo>
                    <a:pt x="14" y="0"/>
                    <a:pt x="13" y="2"/>
                    <a:pt x="14" y="2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22" name="iŝlïḓé"/>
            <p:cNvSpPr/>
            <p:nvPr userDrawn="1"/>
          </p:nvSpPr>
          <p:spPr bwMode="auto">
            <a:xfrm>
              <a:off x="3573463" y="4106863"/>
              <a:ext cx="3175" cy="0"/>
            </a:xfrm>
            <a:custGeom>
              <a:avLst/>
              <a:gdLst>
                <a:gd name="T0" fmla="*/ 0 w 1"/>
                <a:gd name="T1" fmla="*/ 0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23" name="íṡļîďé"/>
            <p:cNvSpPr/>
            <p:nvPr userDrawn="1"/>
          </p:nvSpPr>
          <p:spPr bwMode="auto">
            <a:xfrm>
              <a:off x="2852738" y="4110038"/>
              <a:ext cx="0" cy="1588"/>
            </a:xfrm>
            <a:custGeom>
              <a:avLst/>
              <a:gdLst>
                <a:gd name="T0" fmla="*/ 0 h 1"/>
                <a:gd name="T1" fmla="*/ 0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24" name="iŝ1íḍé"/>
            <p:cNvSpPr/>
            <p:nvPr userDrawn="1"/>
          </p:nvSpPr>
          <p:spPr bwMode="auto">
            <a:xfrm>
              <a:off x="2852738" y="4111625"/>
              <a:ext cx="1588" cy="6350"/>
            </a:xfrm>
            <a:custGeom>
              <a:avLst/>
              <a:gdLst>
                <a:gd name="T0" fmla="*/ 0 w 1"/>
                <a:gd name="T1" fmla="*/ 1 h 2"/>
                <a:gd name="T2" fmla="*/ 1 w 1"/>
                <a:gd name="T3" fmla="*/ 1 h 2"/>
                <a:gd name="T4" fmla="*/ 0 w 1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0"/>
                    <a:pt x="1" y="1"/>
                    <a:pt x="1" y="1"/>
                  </a:cubicBezTo>
                  <a:cubicBezTo>
                    <a:pt x="1" y="2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25" name="îS1îďé"/>
            <p:cNvSpPr/>
            <p:nvPr userDrawn="1"/>
          </p:nvSpPr>
          <p:spPr bwMode="auto">
            <a:xfrm>
              <a:off x="2771775" y="4117975"/>
              <a:ext cx="3175" cy="3175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1"/>
                    <a:pt x="1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26" name="î$ḷíḓè"/>
            <p:cNvSpPr/>
            <p:nvPr userDrawn="1"/>
          </p:nvSpPr>
          <p:spPr bwMode="auto">
            <a:xfrm>
              <a:off x="2774950" y="4122738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27" name="îśḷiḓé"/>
            <p:cNvSpPr/>
            <p:nvPr userDrawn="1"/>
          </p:nvSpPr>
          <p:spPr bwMode="auto">
            <a:xfrm>
              <a:off x="2774950" y="4122738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28" name="îṥḷîdê"/>
            <p:cNvSpPr/>
            <p:nvPr userDrawn="1"/>
          </p:nvSpPr>
          <p:spPr bwMode="auto">
            <a:xfrm>
              <a:off x="2838450" y="4122738"/>
              <a:ext cx="3175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29" name="ïş1ídê"/>
            <p:cNvSpPr/>
            <p:nvPr userDrawn="1"/>
          </p:nvSpPr>
          <p:spPr bwMode="auto">
            <a:xfrm>
              <a:off x="3248025" y="4144963"/>
              <a:ext cx="33338" cy="52388"/>
            </a:xfrm>
            <a:custGeom>
              <a:avLst/>
              <a:gdLst>
                <a:gd name="T0" fmla="*/ 12 w 12"/>
                <a:gd name="T1" fmla="*/ 4 h 20"/>
                <a:gd name="T2" fmla="*/ 10 w 12"/>
                <a:gd name="T3" fmla="*/ 9 h 20"/>
                <a:gd name="T4" fmla="*/ 8 w 12"/>
                <a:gd name="T5" fmla="*/ 12 h 20"/>
                <a:gd name="T6" fmla="*/ 8 w 12"/>
                <a:gd name="T7" fmla="*/ 13 h 20"/>
                <a:gd name="T8" fmla="*/ 7 w 12"/>
                <a:gd name="T9" fmla="*/ 13 h 20"/>
                <a:gd name="T10" fmla="*/ 6 w 12"/>
                <a:gd name="T11" fmla="*/ 15 h 20"/>
                <a:gd name="T12" fmla="*/ 4 w 12"/>
                <a:gd name="T13" fmla="*/ 17 h 20"/>
                <a:gd name="T14" fmla="*/ 4 w 12"/>
                <a:gd name="T15" fmla="*/ 18 h 20"/>
                <a:gd name="T16" fmla="*/ 2 w 12"/>
                <a:gd name="T17" fmla="*/ 20 h 20"/>
                <a:gd name="T18" fmla="*/ 0 w 12"/>
                <a:gd name="T19" fmla="*/ 16 h 20"/>
                <a:gd name="T20" fmla="*/ 2 w 12"/>
                <a:gd name="T21" fmla="*/ 12 h 20"/>
                <a:gd name="T22" fmla="*/ 4 w 12"/>
                <a:gd name="T23" fmla="*/ 8 h 20"/>
                <a:gd name="T24" fmla="*/ 1 w 12"/>
                <a:gd name="T25" fmla="*/ 1 h 20"/>
                <a:gd name="T26" fmla="*/ 12 w 12"/>
                <a:gd name="T27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0">
                  <a:moveTo>
                    <a:pt x="12" y="4"/>
                  </a:moveTo>
                  <a:cubicBezTo>
                    <a:pt x="12" y="6"/>
                    <a:pt x="11" y="7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2"/>
                    <a:pt x="8" y="13"/>
                    <a:pt x="8" y="13"/>
                  </a:cubicBezTo>
                  <a:cubicBezTo>
                    <a:pt x="8" y="13"/>
                    <a:pt x="7" y="13"/>
                    <a:pt x="7" y="13"/>
                  </a:cubicBezTo>
                  <a:cubicBezTo>
                    <a:pt x="7" y="14"/>
                    <a:pt x="7" y="14"/>
                    <a:pt x="6" y="15"/>
                  </a:cubicBezTo>
                  <a:cubicBezTo>
                    <a:pt x="6" y="16"/>
                    <a:pt x="5" y="16"/>
                    <a:pt x="4" y="17"/>
                  </a:cubicBezTo>
                  <a:cubicBezTo>
                    <a:pt x="4" y="17"/>
                    <a:pt x="4" y="18"/>
                    <a:pt x="4" y="18"/>
                  </a:cubicBezTo>
                  <a:cubicBezTo>
                    <a:pt x="3" y="18"/>
                    <a:pt x="3" y="20"/>
                    <a:pt x="2" y="20"/>
                  </a:cubicBezTo>
                  <a:cubicBezTo>
                    <a:pt x="0" y="19"/>
                    <a:pt x="0" y="17"/>
                    <a:pt x="0" y="16"/>
                  </a:cubicBezTo>
                  <a:cubicBezTo>
                    <a:pt x="0" y="14"/>
                    <a:pt x="2" y="13"/>
                    <a:pt x="2" y="12"/>
                  </a:cubicBezTo>
                  <a:cubicBezTo>
                    <a:pt x="3" y="11"/>
                    <a:pt x="3" y="9"/>
                    <a:pt x="4" y="8"/>
                  </a:cubicBezTo>
                  <a:cubicBezTo>
                    <a:pt x="4" y="5"/>
                    <a:pt x="1" y="4"/>
                    <a:pt x="1" y="1"/>
                  </a:cubicBezTo>
                  <a:cubicBezTo>
                    <a:pt x="5" y="0"/>
                    <a:pt x="10" y="1"/>
                    <a:pt x="12" y="4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30" name="ïsļîďè"/>
            <p:cNvSpPr/>
            <p:nvPr userDrawn="1"/>
          </p:nvSpPr>
          <p:spPr bwMode="auto">
            <a:xfrm>
              <a:off x="3195638" y="4149725"/>
              <a:ext cx="44450" cy="63500"/>
            </a:xfrm>
            <a:custGeom>
              <a:avLst/>
              <a:gdLst>
                <a:gd name="T0" fmla="*/ 14 w 17"/>
                <a:gd name="T1" fmla="*/ 0 h 24"/>
                <a:gd name="T2" fmla="*/ 14 w 17"/>
                <a:gd name="T3" fmla="*/ 7 h 24"/>
                <a:gd name="T4" fmla="*/ 11 w 17"/>
                <a:gd name="T5" fmla="*/ 9 h 24"/>
                <a:gd name="T6" fmla="*/ 16 w 17"/>
                <a:gd name="T7" fmla="*/ 14 h 24"/>
                <a:gd name="T8" fmla="*/ 17 w 17"/>
                <a:gd name="T9" fmla="*/ 18 h 24"/>
                <a:gd name="T10" fmla="*/ 15 w 17"/>
                <a:gd name="T11" fmla="*/ 20 h 24"/>
                <a:gd name="T12" fmla="*/ 15 w 17"/>
                <a:gd name="T13" fmla="*/ 23 h 24"/>
                <a:gd name="T14" fmla="*/ 13 w 17"/>
                <a:gd name="T15" fmla="*/ 24 h 24"/>
                <a:gd name="T16" fmla="*/ 8 w 17"/>
                <a:gd name="T17" fmla="*/ 24 h 24"/>
                <a:gd name="T18" fmla="*/ 1 w 17"/>
                <a:gd name="T19" fmla="*/ 18 h 24"/>
                <a:gd name="T20" fmla="*/ 2 w 17"/>
                <a:gd name="T21" fmla="*/ 9 h 24"/>
                <a:gd name="T22" fmla="*/ 6 w 17"/>
                <a:gd name="T23" fmla="*/ 7 h 24"/>
                <a:gd name="T24" fmla="*/ 13 w 17"/>
                <a:gd name="T25" fmla="*/ 0 h 24"/>
                <a:gd name="T26" fmla="*/ 14 w 17"/>
                <a:gd name="T2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24">
                  <a:moveTo>
                    <a:pt x="14" y="0"/>
                  </a:moveTo>
                  <a:cubicBezTo>
                    <a:pt x="15" y="1"/>
                    <a:pt x="14" y="5"/>
                    <a:pt x="14" y="7"/>
                  </a:cubicBezTo>
                  <a:cubicBezTo>
                    <a:pt x="14" y="8"/>
                    <a:pt x="11" y="8"/>
                    <a:pt x="11" y="9"/>
                  </a:cubicBezTo>
                  <a:cubicBezTo>
                    <a:pt x="11" y="11"/>
                    <a:pt x="14" y="12"/>
                    <a:pt x="16" y="14"/>
                  </a:cubicBezTo>
                  <a:cubicBezTo>
                    <a:pt x="16" y="15"/>
                    <a:pt x="16" y="17"/>
                    <a:pt x="17" y="18"/>
                  </a:cubicBezTo>
                  <a:cubicBezTo>
                    <a:pt x="16" y="19"/>
                    <a:pt x="16" y="19"/>
                    <a:pt x="15" y="20"/>
                  </a:cubicBezTo>
                  <a:cubicBezTo>
                    <a:pt x="15" y="21"/>
                    <a:pt x="15" y="22"/>
                    <a:pt x="15" y="23"/>
                  </a:cubicBezTo>
                  <a:cubicBezTo>
                    <a:pt x="14" y="24"/>
                    <a:pt x="13" y="23"/>
                    <a:pt x="13" y="24"/>
                  </a:cubicBezTo>
                  <a:cubicBezTo>
                    <a:pt x="12" y="24"/>
                    <a:pt x="10" y="24"/>
                    <a:pt x="8" y="24"/>
                  </a:cubicBezTo>
                  <a:cubicBezTo>
                    <a:pt x="6" y="22"/>
                    <a:pt x="3" y="21"/>
                    <a:pt x="1" y="18"/>
                  </a:cubicBezTo>
                  <a:cubicBezTo>
                    <a:pt x="0" y="15"/>
                    <a:pt x="2" y="12"/>
                    <a:pt x="2" y="9"/>
                  </a:cubicBezTo>
                  <a:cubicBezTo>
                    <a:pt x="3" y="8"/>
                    <a:pt x="4" y="7"/>
                    <a:pt x="6" y="7"/>
                  </a:cubicBezTo>
                  <a:cubicBezTo>
                    <a:pt x="8" y="5"/>
                    <a:pt x="11" y="3"/>
                    <a:pt x="13" y="0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31" name="îṩḷîḋè"/>
            <p:cNvSpPr/>
            <p:nvPr userDrawn="1"/>
          </p:nvSpPr>
          <p:spPr bwMode="auto">
            <a:xfrm>
              <a:off x="6269038" y="2809875"/>
              <a:ext cx="603250" cy="776288"/>
            </a:xfrm>
            <a:custGeom>
              <a:avLst/>
              <a:gdLst>
                <a:gd name="T0" fmla="*/ 227 w 227"/>
                <a:gd name="T1" fmla="*/ 33 h 291"/>
                <a:gd name="T2" fmla="*/ 201 w 227"/>
                <a:gd name="T3" fmla="*/ 48 h 291"/>
                <a:gd name="T4" fmla="*/ 192 w 227"/>
                <a:gd name="T5" fmla="*/ 63 h 291"/>
                <a:gd name="T6" fmla="*/ 171 w 227"/>
                <a:gd name="T7" fmla="*/ 93 h 291"/>
                <a:gd name="T8" fmla="*/ 158 w 227"/>
                <a:gd name="T9" fmla="*/ 112 h 291"/>
                <a:gd name="T10" fmla="*/ 140 w 227"/>
                <a:gd name="T11" fmla="*/ 137 h 291"/>
                <a:gd name="T12" fmla="*/ 120 w 227"/>
                <a:gd name="T13" fmla="*/ 166 h 291"/>
                <a:gd name="T14" fmla="*/ 103 w 227"/>
                <a:gd name="T15" fmla="*/ 197 h 291"/>
                <a:gd name="T16" fmla="*/ 64 w 227"/>
                <a:gd name="T17" fmla="*/ 253 h 291"/>
                <a:gd name="T18" fmla="*/ 34 w 227"/>
                <a:gd name="T19" fmla="*/ 286 h 291"/>
                <a:gd name="T20" fmla="*/ 0 w 227"/>
                <a:gd name="T21" fmla="*/ 290 h 291"/>
                <a:gd name="T22" fmla="*/ 19 w 227"/>
                <a:gd name="T23" fmla="*/ 274 h 291"/>
                <a:gd name="T24" fmla="*/ 37 w 227"/>
                <a:gd name="T25" fmla="*/ 259 h 291"/>
                <a:gd name="T26" fmla="*/ 75 w 227"/>
                <a:gd name="T27" fmla="*/ 212 h 291"/>
                <a:gd name="T28" fmla="*/ 108 w 227"/>
                <a:gd name="T29" fmla="*/ 161 h 291"/>
                <a:gd name="T30" fmla="*/ 171 w 227"/>
                <a:gd name="T31" fmla="*/ 56 h 291"/>
                <a:gd name="T32" fmla="*/ 118 w 227"/>
                <a:gd name="T33" fmla="*/ 27 h 291"/>
                <a:gd name="T34" fmla="*/ 194 w 227"/>
                <a:gd name="T35" fmla="*/ 0 h 291"/>
                <a:gd name="T36" fmla="*/ 227 w 227"/>
                <a:gd name="T37" fmla="*/ 33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7" h="291">
                  <a:moveTo>
                    <a:pt x="227" y="33"/>
                  </a:moveTo>
                  <a:cubicBezTo>
                    <a:pt x="219" y="38"/>
                    <a:pt x="208" y="40"/>
                    <a:pt x="201" y="48"/>
                  </a:cubicBezTo>
                  <a:cubicBezTo>
                    <a:pt x="198" y="52"/>
                    <a:pt x="195" y="58"/>
                    <a:pt x="192" y="63"/>
                  </a:cubicBezTo>
                  <a:cubicBezTo>
                    <a:pt x="185" y="73"/>
                    <a:pt x="179" y="83"/>
                    <a:pt x="171" y="93"/>
                  </a:cubicBezTo>
                  <a:cubicBezTo>
                    <a:pt x="167" y="99"/>
                    <a:pt x="162" y="106"/>
                    <a:pt x="158" y="112"/>
                  </a:cubicBezTo>
                  <a:cubicBezTo>
                    <a:pt x="154" y="121"/>
                    <a:pt x="146" y="128"/>
                    <a:pt x="140" y="137"/>
                  </a:cubicBezTo>
                  <a:cubicBezTo>
                    <a:pt x="134" y="147"/>
                    <a:pt x="128" y="157"/>
                    <a:pt x="120" y="166"/>
                  </a:cubicBezTo>
                  <a:cubicBezTo>
                    <a:pt x="117" y="176"/>
                    <a:pt x="110" y="186"/>
                    <a:pt x="103" y="197"/>
                  </a:cubicBezTo>
                  <a:cubicBezTo>
                    <a:pt x="92" y="217"/>
                    <a:pt x="79" y="235"/>
                    <a:pt x="64" y="253"/>
                  </a:cubicBezTo>
                  <a:cubicBezTo>
                    <a:pt x="54" y="264"/>
                    <a:pt x="47" y="280"/>
                    <a:pt x="34" y="286"/>
                  </a:cubicBezTo>
                  <a:cubicBezTo>
                    <a:pt x="24" y="291"/>
                    <a:pt x="11" y="290"/>
                    <a:pt x="0" y="290"/>
                  </a:cubicBezTo>
                  <a:cubicBezTo>
                    <a:pt x="4" y="283"/>
                    <a:pt x="12" y="280"/>
                    <a:pt x="19" y="274"/>
                  </a:cubicBezTo>
                  <a:cubicBezTo>
                    <a:pt x="25" y="269"/>
                    <a:pt x="31" y="264"/>
                    <a:pt x="37" y="259"/>
                  </a:cubicBezTo>
                  <a:cubicBezTo>
                    <a:pt x="49" y="243"/>
                    <a:pt x="63" y="229"/>
                    <a:pt x="75" y="212"/>
                  </a:cubicBezTo>
                  <a:cubicBezTo>
                    <a:pt x="87" y="196"/>
                    <a:pt x="97" y="178"/>
                    <a:pt x="108" y="161"/>
                  </a:cubicBezTo>
                  <a:cubicBezTo>
                    <a:pt x="131" y="128"/>
                    <a:pt x="154" y="93"/>
                    <a:pt x="171" y="56"/>
                  </a:cubicBezTo>
                  <a:cubicBezTo>
                    <a:pt x="155" y="50"/>
                    <a:pt x="122" y="50"/>
                    <a:pt x="118" y="27"/>
                  </a:cubicBezTo>
                  <a:cubicBezTo>
                    <a:pt x="151" y="37"/>
                    <a:pt x="179" y="19"/>
                    <a:pt x="194" y="0"/>
                  </a:cubicBezTo>
                  <a:cubicBezTo>
                    <a:pt x="213" y="3"/>
                    <a:pt x="224" y="15"/>
                    <a:pt x="227" y="33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32" name="ïşļíďé"/>
            <p:cNvSpPr/>
            <p:nvPr userDrawn="1"/>
          </p:nvSpPr>
          <p:spPr bwMode="auto">
            <a:xfrm>
              <a:off x="8378825" y="2817813"/>
              <a:ext cx="479425" cy="758825"/>
            </a:xfrm>
            <a:custGeom>
              <a:avLst/>
              <a:gdLst>
                <a:gd name="T0" fmla="*/ 128 w 180"/>
                <a:gd name="T1" fmla="*/ 74 h 284"/>
                <a:gd name="T2" fmla="*/ 130 w 180"/>
                <a:gd name="T3" fmla="*/ 74 h 284"/>
                <a:gd name="T4" fmla="*/ 131 w 180"/>
                <a:gd name="T5" fmla="*/ 67 h 284"/>
                <a:gd name="T6" fmla="*/ 125 w 180"/>
                <a:gd name="T7" fmla="*/ 63 h 284"/>
                <a:gd name="T8" fmla="*/ 128 w 180"/>
                <a:gd name="T9" fmla="*/ 74 h 284"/>
                <a:gd name="T10" fmla="*/ 79 w 180"/>
                <a:gd name="T11" fmla="*/ 0 h 284"/>
                <a:gd name="T12" fmla="*/ 126 w 180"/>
                <a:gd name="T13" fmla="*/ 22 h 284"/>
                <a:gd name="T14" fmla="*/ 129 w 180"/>
                <a:gd name="T15" fmla="*/ 53 h 284"/>
                <a:gd name="T16" fmla="*/ 156 w 180"/>
                <a:gd name="T17" fmla="*/ 67 h 284"/>
                <a:gd name="T18" fmla="*/ 170 w 180"/>
                <a:gd name="T19" fmla="*/ 94 h 284"/>
                <a:gd name="T20" fmla="*/ 180 w 180"/>
                <a:gd name="T21" fmla="*/ 103 h 284"/>
                <a:gd name="T22" fmla="*/ 170 w 180"/>
                <a:gd name="T23" fmla="*/ 123 h 284"/>
                <a:gd name="T24" fmla="*/ 149 w 180"/>
                <a:gd name="T25" fmla="*/ 134 h 284"/>
                <a:gd name="T26" fmla="*/ 126 w 180"/>
                <a:gd name="T27" fmla="*/ 166 h 284"/>
                <a:gd name="T28" fmla="*/ 112 w 180"/>
                <a:gd name="T29" fmla="*/ 175 h 284"/>
                <a:gd name="T30" fmla="*/ 105 w 180"/>
                <a:gd name="T31" fmla="*/ 221 h 284"/>
                <a:gd name="T32" fmla="*/ 80 w 180"/>
                <a:gd name="T33" fmla="*/ 238 h 284"/>
                <a:gd name="T34" fmla="*/ 70 w 180"/>
                <a:gd name="T35" fmla="*/ 259 h 284"/>
                <a:gd name="T36" fmla="*/ 37 w 180"/>
                <a:gd name="T37" fmla="*/ 278 h 284"/>
                <a:gd name="T38" fmla="*/ 18 w 180"/>
                <a:gd name="T39" fmla="*/ 284 h 284"/>
                <a:gd name="T40" fmla="*/ 12 w 180"/>
                <a:gd name="T41" fmla="*/ 276 h 284"/>
                <a:gd name="T42" fmla="*/ 1 w 180"/>
                <a:gd name="T43" fmla="*/ 280 h 284"/>
                <a:gd name="T44" fmla="*/ 9 w 180"/>
                <a:gd name="T45" fmla="*/ 264 h 284"/>
                <a:gd name="T46" fmla="*/ 21 w 180"/>
                <a:gd name="T47" fmla="*/ 247 h 284"/>
                <a:gd name="T48" fmla="*/ 23 w 180"/>
                <a:gd name="T49" fmla="*/ 237 h 284"/>
                <a:gd name="T50" fmla="*/ 38 w 180"/>
                <a:gd name="T51" fmla="*/ 218 h 284"/>
                <a:gd name="T52" fmla="*/ 56 w 180"/>
                <a:gd name="T53" fmla="*/ 206 h 284"/>
                <a:gd name="T54" fmla="*/ 50 w 180"/>
                <a:gd name="T55" fmla="*/ 199 h 284"/>
                <a:gd name="T56" fmla="*/ 55 w 180"/>
                <a:gd name="T57" fmla="*/ 188 h 284"/>
                <a:gd name="T58" fmla="*/ 42 w 180"/>
                <a:gd name="T59" fmla="*/ 171 h 284"/>
                <a:gd name="T60" fmla="*/ 34 w 180"/>
                <a:gd name="T61" fmla="*/ 172 h 284"/>
                <a:gd name="T62" fmla="*/ 13 w 180"/>
                <a:gd name="T63" fmla="*/ 148 h 284"/>
                <a:gd name="T64" fmla="*/ 65 w 180"/>
                <a:gd name="T65" fmla="*/ 139 h 284"/>
                <a:gd name="T66" fmla="*/ 70 w 180"/>
                <a:gd name="T67" fmla="*/ 128 h 284"/>
                <a:gd name="T68" fmla="*/ 81 w 180"/>
                <a:gd name="T69" fmla="*/ 105 h 284"/>
                <a:gd name="T70" fmla="*/ 81 w 180"/>
                <a:gd name="T71" fmla="*/ 67 h 284"/>
                <a:gd name="T72" fmla="*/ 88 w 180"/>
                <a:gd name="T73" fmla="*/ 65 h 284"/>
                <a:gd name="T74" fmla="*/ 87 w 180"/>
                <a:gd name="T75" fmla="*/ 53 h 284"/>
                <a:gd name="T76" fmla="*/ 79 w 180"/>
                <a:gd name="T77" fmla="*/ 35 h 284"/>
                <a:gd name="T78" fmla="*/ 81 w 180"/>
                <a:gd name="T79" fmla="*/ 22 h 284"/>
                <a:gd name="T80" fmla="*/ 79 w 180"/>
                <a:gd name="T81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0" h="284">
                  <a:moveTo>
                    <a:pt x="128" y="74"/>
                  </a:moveTo>
                  <a:cubicBezTo>
                    <a:pt x="128" y="73"/>
                    <a:pt x="129" y="74"/>
                    <a:pt x="130" y="74"/>
                  </a:cubicBezTo>
                  <a:cubicBezTo>
                    <a:pt x="129" y="71"/>
                    <a:pt x="132" y="71"/>
                    <a:pt x="131" y="67"/>
                  </a:cubicBezTo>
                  <a:cubicBezTo>
                    <a:pt x="129" y="66"/>
                    <a:pt x="128" y="59"/>
                    <a:pt x="125" y="63"/>
                  </a:cubicBezTo>
                  <a:cubicBezTo>
                    <a:pt x="129" y="66"/>
                    <a:pt x="125" y="71"/>
                    <a:pt x="128" y="74"/>
                  </a:cubicBezTo>
                  <a:close/>
                  <a:moveTo>
                    <a:pt x="79" y="0"/>
                  </a:moveTo>
                  <a:cubicBezTo>
                    <a:pt x="95" y="7"/>
                    <a:pt x="109" y="16"/>
                    <a:pt x="126" y="22"/>
                  </a:cubicBezTo>
                  <a:cubicBezTo>
                    <a:pt x="126" y="29"/>
                    <a:pt x="127" y="44"/>
                    <a:pt x="129" y="53"/>
                  </a:cubicBezTo>
                  <a:cubicBezTo>
                    <a:pt x="140" y="55"/>
                    <a:pt x="145" y="72"/>
                    <a:pt x="156" y="67"/>
                  </a:cubicBezTo>
                  <a:cubicBezTo>
                    <a:pt x="159" y="77"/>
                    <a:pt x="173" y="82"/>
                    <a:pt x="170" y="94"/>
                  </a:cubicBezTo>
                  <a:cubicBezTo>
                    <a:pt x="173" y="98"/>
                    <a:pt x="178" y="98"/>
                    <a:pt x="180" y="103"/>
                  </a:cubicBezTo>
                  <a:cubicBezTo>
                    <a:pt x="175" y="108"/>
                    <a:pt x="175" y="118"/>
                    <a:pt x="170" y="123"/>
                  </a:cubicBezTo>
                  <a:cubicBezTo>
                    <a:pt x="165" y="130"/>
                    <a:pt x="157" y="130"/>
                    <a:pt x="149" y="134"/>
                  </a:cubicBezTo>
                  <a:cubicBezTo>
                    <a:pt x="142" y="146"/>
                    <a:pt x="123" y="144"/>
                    <a:pt x="126" y="166"/>
                  </a:cubicBezTo>
                  <a:cubicBezTo>
                    <a:pt x="122" y="169"/>
                    <a:pt x="116" y="171"/>
                    <a:pt x="112" y="175"/>
                  </a:cubicBezTo>
                  <a:cubicBezTo>
                    <a:pt x="109" y="186"/>
                    <a:pt x="100" y="202"/>
                    <a:pt x="105" y="221"/>
                  </a:cubicBezTo>
                  <a:cubicBezTo>
                    <a:pt x="95" y="226"/>
                    <a:pt x="86" y="230"/>
                    <a:pt x="80" y="238"/>
                  </a:cubicBezTo>
                  <a:cubicBezTo>
                    <a:pt x="75" y="244"/>
                    <a:pt x="75" y="253"/>
                    <a:pt x="70" y="259"/>
                  </a:cubicBezTo>
                  <a:cubicBezTo>
                    <a:pt x="54" y="261"/>
                    <a:pt x="47" y="271"/>
                    <a:pt x="37" y="278"/>
                  </a:cubicBezTo>
                  <a:cubicBezTo>
                    <a:pt x="28" y="275"/>
                    <a:pt x="24" y="282"/>
                    <a:pt x="18" y="284"/>
                  </a:cubicBezTo>
                  <a:cubicBezTo>
                    <a:pt x="14" y="283"/>
                    <a:pt x="12" y="281"/>
                    <a:pt x="12" y="276"/>
                  </a:cubicBezTo>
                  <a:cubicBezTo>
                    <a:pt x="7" y="276"/>
                    <a:pt x="8" y="281"/>
                    <a:pt x="1" y="280"/>
                  </a:cubicBezTo>
                  <a:cubicBezTo>
                    <a:pt x="0" y="271"/>
                    <a:pt x="6" y="269"/>
                    <a:pt x="9" y="264"/>
                  </a:cubicBezTo>
                  <a:cubicBezTo>
                    <a:pt x="9" y="254"/>
                    <a:pt x="17" y="252"/>
                    <a:pt x="21" y="247"/>
                  </a:cubicBezTo>
                  <a:cubicBezTo>
                    <a:pt x="22" y="243"/>
                    <a:pt x="22" y="243"/>
                    <a:pt x="23" y="237"/>
                  </a:cubicBezTo>
                  <a:cubicBezTo>
                    <a:pt x="30" y="233"/>
                    <a:pt x="34" y="225"/>
                    <a:pt x="38" y="218"/>
                  </a:cubicBezTo>
                  <a:cubicBezTo>
                    <a:pt x="49" y="222"/>
                    <a:pt x="51" y="211"/>
                    <a:pt x="56" y="206"/>
                  </a:cubicBezTo>
                  <a:cubicBezTo>
                    <a:pt x="56" y="201"/>
                    <a:pt x="52" y="201"/>
                    <a:pt x="50" y="199"/>
                  </a:cubicBezTo>
                  <a:cubicBezTo>
                    <a:pt x="51" y="194"/>
                    <a:pt x="52" y="190"/>
                    <a:pt x="55" y="188"/>
                  </a:cubicBezTo>
                  <a:cubicBezTo>
                    <a:pt x="53" y="179"/>
                    <a:pt x="45" y="178"/>
                    <a:pt x="42" y="171"/>
                  </a:cubicBezTo>
                  <a:cubicBezTo>
                    <a:pt x="39" y="171"/>
                    <a:pt x="38" y="173"/>
                    <a:pt x="34" y="172"/>
                  </a:cubicBezTo>
                  <a:cubicBezTo>
                    <a:pt x="28" y="164"/>
                    <a:pt x="14" y="162"/>
                    <a:pt x="13" y="148"/>
                  </a:cubicBezTo>
                  <a:cubicBezTo>
                    <a:pt x="31" y="153"/>
                    <a:pt x="55" y="151"/>
                    <a:pt x="65" y="139"/>
                  </a:cubicBezTo>
                  <a:cubicBezTo>
                    <a:pt x="68" y="137"/>
                    <a:pt x="68" y="132"/>
                    <a:pt x="70" y="128"/>
                  </a:cubicBezTo>
                  <a:cubicBezTo>
                    <a:pt x="74" y="121"/>
                    <a:pt x="79" y="116"/>
                    <a:pt x="81" y="105"/>
                  </a:cubicBezTo>
                  <a:cubicBezTo>
                    <a:pt x="78" y="96"/>
                    <a:pt x="83" y="83"/>
                    <a:pt x="81" y="67"/>
                  </a:cubicBezTo>
                  <a:cubicBezTo>
                    <a:pt x="83" y="64"/>
                    <a:pt x="86" y="66"/>
                    <a:pt x="88" y="65"/>
                  </a:cubicBezTo>
                  <a:cubicBezTo>
                    <a:pt x="88" y="61"/>
                    <a:pt x="84" y="56"/>
                    <a:pt x="87" y="53"/>
                  </a:cubicBezTo>
                  <a:cubicBezTo>
                    <a:pt x="83" y="49"/>
                    <a:pt x="79" y="42"/>
                    <a:pt x="79" y="35"/>
                  </a:cubicBezTo>
                  <a:cubicBezTo>
                    <a:pt x="78" y="31"/>
                    <a:pt x="81" y="26"/>
                    <a:pt x="81" y="22"/>
                  </a:cubicBezTo>
                  <a:cubicBezTo>
                    <a:pt x="81" y="14"/>
                    <a:pt x="75" y="7"/>
                    <a:pt x="79" y="0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33" name="ïš1íḓê"/>
            <p:cNvSpPr/>
            <p:nvPr userDrawn="1"/>
          </p:nvSpPr>
          <p:spPr bwMode="auto">
            <a:xfrm>
              <a:off x="7464425" y="2833688"/>
              <a:ext cx="657225" cy="720725"/>
            </a:xfrm>
            <a:custGeom>
              <a:avLst/>
              <a:gdLst>
                <a:gd name="T0" fmla="*/ 108 w 247"/>
                <a:gd name="T1" fmla="*/ 102 h 270"/>
                <a:gd name="T2" fmla="*/ 65 w 247"/>
                <a:gd name="T3" fmla="*/ 134 h 270"/>
                <a:gd name="T4" fmla="*/ 38 w 247"/>
                <a:gd name="T5" fmla="*/ 146 h 270"/>
                <a:gd name="T6" fmla="*/ 25 w 247"/>
                <a:gd name="T7" fmla="*/ 181 h 270"/>
                <a:gd name="T8" fmla="*/ 29 w 247"/>
                <a:gd name="T9" fmla="*/ 193 h 270"/>
                <a:gd name="T10" fmla="*/ 29 w 247"/>
                <a:gd name="T11" fmla="*/ 200 h 270"/>
                <a:gd name="T12" fmla="*/ 46 w 247"/>
                <a:gd name="T13" fmla="*/ 219 h 270"/>
                <a:gd name="T14" fmla="*/ 65 w 247"/>
                <a:gd name="T15" fmla="*/ 235 h 270"/>
                <a:gd name="T16" fmla="*/ 74 w 247"/>
                <a:gd name="T17" fmla="*/ 235 h 270"/>
                <a:gd name="T18" fmla="*/ 99 w 247"/>
                <a:gd name="T19" fmla="*/ 231 h 270"/>
                <a:gd name="T20" fmla="*/ 102 w 247"/>
                <a:gd name="T21" fmla="*/ 219 h 270"/>
                <a:gd name="T22" fmla="*/ 112 w 247"/>
                <a:gd name="T23" fmla="*/ 206 h 270"/>
                <a:gd name="T24" fmla="*/ 111 w 247"/>
                <a:gd name="T25" fmla="*/ 183 h 270"/>
                <a:gd name="T26" fmla="*/ 95 w 247"/>
                <a:gd name="T27" fmla="*/ 145 h 270"/>
                <a:gd name="T28" fmla="*/ 108 w 247"/>
                <a:gd name="T29" fmla="*/ 146 h 270"/>
                <a:gd name="T30" fmla="*/ 116 w 247"/>
                <a:gd name="T31" fmla="*/ 105 h 270"/>
                <a:gd name="T32" fmla="*/ 108 w 247"/>
                <a:gd name="T33" fmla="*/ 102 h 270"/>
                <a:gd name="T34" fmla="*/ 183 w 247"/>
                <a:gd name="T35" fmla="*/ 177 h 270"/>
                <a:gd name="T36" fmla="*/ 205 w 247"/>
                <a:gd name="T37" fmla="*/ 147 h 270"/>
                <a:gd name="T38" fmla="*/ 215 w 247"/>
                <a:gd name="T39" fmla="*/ 132 h 270"/>
                <a:gd name="T40" fmla="*/ 192 w 247"/>
                <a:gd name="T41" fmla="*/ 108 h 270"/>
                <a:gd name="T42" fmla="*/ 155 w 247"/>
                <a:gd name="T43" fmla="*/ 102 h 270"/>
                <a:gd name="T44" fmla="*/ 154 w 247"/>
                <a:gd name="T45" fmla="*/ 104 h 270"/>
                <a:gd name="T46" fmla="*/ 167 w 247"/>
                <a:gd name="T47" fmla="*/ 145 h 270"/>
                <a:gd name="T48" fmla="*/ 161 w 247"/>
                <a:gd name="T49" fmla="*/ 154 h 270"/>
                <a:gd name="T50" fmla="*/ 155 w 247"/>
                <a:gd name="T51" fmla="*/ 165 h 270"/>
                <a:gd name="T52" fmla="*/ 136 w 247"/>
                <a:gd name="T53" fmla="*/ 183 h 270"/>
                <a:gd name="T54" fmla="*/ 140 w 247"/>
                <a:gd name="T55" fmla="*/ 212 h 270"/>
                <a:gd name="T56" fmla="*/ 183 w 247"/>
                <a:gd name="T57" fmla="*/ 177 h 270"/>
                <a:gd name="T58" fmla="*/ 120 w 247"/>
                <a:gd name="T59" fmla="*/ 0 h 270"/>
                <a:gd name="T60" fmla="*/ 137 w 247"/>
                <a:gd name="T61" fmla="*/ 6 h 270"/>
                <a:gd name="T62" fmla="*/ 147 w 247"/>
                <a:gd name="T63" fmla="*/ 88 h 270"/>
                <a:gd name="T64" fmla="*/ 173 w 247"/>
                <a:gd name="T65" fmla="*/ 95 h 270"/>
                <a:gd name="T66" fmla="*/ 209 w 247"/>
                <a:gd name="T67" fmla="*/ 104 h 270"/>
                <a:gd name="T68" fmla="*/ 227 w 247"/>
                <a:gd name="T69" fmla="*/ 111 h 270"/>
                <a:gd name="T70" fmla="*/ 246 w 247"/>
                <a:gd name="T71" fmla="*/ 138 h 270"/>
                <a:gd name="T72" fmla="*/ 235 w 247"/>
                <a:gd name="T73" fmla="*/ 158 h 270"/>
                <a:gd name="T74" fmla="*/ 219 w 247"/>
                <a:gd name="T75" fmla="*/ 170 h 270"/>
                <a:gd name="T76" fmla="*/ 210 w 247"/>
                <a:gd name="T77" fmla="*/ 185 h 270"/>
                <a:gd name="T78" fmla="*/ 201 w 247"/>
                <a:gd name="T79" fmla="*/ 198 h 270"/>
                <a:gd name="T80" fmla="*/ 179 w 247"/>
                <a:gd name="T81" fmla="*/ 219 h 270"/>
                <a:gd name="T82" fmla="*/ 189 w 247"/>
                <a:gd name="T83" fmla="*/ 240 h 270"/>
                <a:gd name="T84" fmla="*/ 186 w 247"/>
                <a:gd name="T85" fmla="*/ 258 h 270"/>
                <a:gd name="T86" fmla="*/ 123 w 247"/>
                <a:gd name="T87" fmla="*/ 257 h 270"/>
                <a:gd name="T88" fmla="*/ 86 w 247"/>
                <a:gd name="T89" fmla="*/ 263 h 270"/>
                <a:gd name="T90" fmla="*/ 71 w 247"/>
                <a:gd name="T91" fmla="*/ 250 h 270"/>
                <a:gd name="T92" fmla="*/ 67 w 247"/>
                <a:gd name="T93" fmla="*/ 244 h 270"/>
                <a:gd name="T94" fmla="*/ 53 w 247"/>
                <a:gd name="T95" fmla="*/ 234 h 270"/>
                <a:gd name="T96" fmla="*/ 23 w 247"/>
                <a:gd name="T97" fmla="*/ 209 h 270"/>
                <a:gd name="T98" fmla="*/ 13 w 247"/>
                <a:gd name="T99" fmla="*/ 183 h 270"/>
                <a:gd name="T100" fmla="*/ 0 w 247"/>
                <a:gd name="T101" fmla="*/ 172 h 270"/>
                <a:gd name="T102" fmla="*/ 62 w 247"/>
                <a:gd name="T103" fmla="*/ 116 h 270"/>
                <a:gd name="T104" fmla="*/ 115 w 247"/>
                <a:gd name="T105" fmla="*/ 89 h 270"/>
                <a:gd name="T106" fmla="*/ 120 w 247"/>
                <a:gd name="T107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7" h="270">
                  <a:moveTo>
                    <a:pt x="108" y="102"/>
                  </a:moveTo>
                  <a:cubicBezTo>
                    <a:pt x="97" y="116"/>
                    <a:pt x="78" y="123"/>
                    <a:pt x="65" y="134"/>
                  </a:cubicBezTo>
                  <a:cubicBezTo>
                    <a:pt x="54" y="132"/>
                    <a:pt x="46" y="141"/>
                    <a:pt x="38" y="146"/>
                  </a:cubicBezTo>
                  <a:cubicBezTo>
                    <a:pt x="39" y="159"/>
                    <a:pt x="27" y="168"/>
                    <a:pt x="25" y="181"/>
                  </a:cubicBezTo>
                  <a:cubicBezTo>
                    <a:pt x="25" y="186"/>
                    <a:pt x="28" y="188"/>
                    <a:pt x="29" y="193"/>
                  </a:cubicBezTo>
                  <a:cubicBezTo>
                    <a:pt x="30" y="196"/>
                    <a:pt x="28" y="199"/>
                    <a:pt x="29" y="200"/>
                  </a:cubicBezTo>
                  <a:cubicBezTo>
                    <a:pt x="32" y="205"/>
                    <a:pt x="39" y="212"/>
                    <a:pt x="46" y="219"/>
                  </a:cubicBezTo>
                  <a:cubicBezTo>
                    <a:pt x="51" y="225"/>
                    <a:pt x="59" y="234"/>
                    <a:pt x="65" y="235"/>
                  </a:cubicBezTo>
                  <a:cubicBezTo>
                    <a:pt x="67" y="236"/>
                    <a:pt x="71" y="235"/>
                    <a:pt x="74" y="235"/>
                  </a:cubicBezTo>
                  <a:cubicBezTo>
                    <a:pt x="85" y="237"/>
                    <a:pt x="93" y="238"/>
                    <a:pt x="99" y="231"/>
                  </a:cubicBezTo>
                  <a:cubicBezTo>
                    <a:pt x="101" y="228"/>
                    <a:pt x="100" y="223"/>
                    <a:pt x="102" y="219"/>
                  </a:cubicBezTo>
                  <a:cubicBezTo>
                    <a:pt x="105" y="213"/>
                    <a:pt x="111" y="211"/>
                    <a:pt x="112" y="206"/>
                  </a:cubicBezTo>
                  <a:cubicBezTo>
                    <a:pt x="114" y="199"/>
                    <a:pt x="110" y="192"/>
                    <a:pt x="111" y="183"/>
                  </a:cubicBezTo>
                  <a:cubicBezTo>
                    <a:pt x="104" y="175"/>
                    <a:pt x="74" y="153"/>
                    <a:pt x="95" y="145"/>
                  </a:cubicBezTo>
                  <a:cubicBezTo>
                    <a:pt x="99" y="148"/>
                    <a:pt x="101" y="146"/>
                    <a:pt x="108" y="146"/>
                  </a:cubicBezTo>
                  <a:cubicBezTo>
                    <a:pt x="113" y="135"/>
                    <a:pt x="115" y="120"/>
                    <a:pt x="116" y="105"/>
                  </a:cubicBezTo>
                  <a:cubicBezTo>
                    <a:pt x="113" y="104"/>
                    <a:pt x="112" y="101"/>
                    <a:pt x="108" y="102"/>
                  </a:cubicBezTo>
                  <a:close/>
                  <a:moveTo>
                    <a:pt x="183" y="177"/>
                  </a:moveTo>
                  <a:cubicBezTo>
                    <a:pt x="193" y="165"/>
                    <a:pt x="197" y="160"/>
                    <a:pt x="205" y="147"/>
                  </a:cubicBezTo>
                  <a:cubicBezTo>
                    <a:pt x="209" y="142"/>
                    <a:pt x="215" y="136"/>
                    <a:pt x="215" y="132"/>
                  </a:cubicBezTo>
                  <a:cubicBezTo>
                    <a:pt x="215" y="124"/>
                    <a:pt x="198" y="110"/>
                    <a:pt x="192" y="108"/>
                  </a:cubicBezTo>
                  <a:cubicBezTo>
                    <a:pt x="184" y="104"/>
                    <a:pt x="161" y="102"/>
                    <a:pt x="155" y="102"/>
                  </a:cubicBezTo>
                  <a:cubicBezTo>
                    <a:pt x="154" y="102"/>
                    <a:pt x="154" y="103"/>
                    <a:pt x="154" y="104"/>
                  </a:cubicBezTo>
                  <a:cubicBezTo>
                    <a:pt x="151" y="118"/>
                    <a:pt x="169" y="131"/>
                    <a:pt x="167" y="145"/>
                  </a:cubicBezTo>
                  <a:cubicBezTo>
                    <a:pt x="167" y="148"/>
                    <a:pt x="164" y="150"/>
                    <a:pt x="161" y="154"/>
                  </a:cubicBezTo>
                  <a:cubicBezTo>
                    <a:pt x="159" y="158"/>
                    <a:pt x="158" y="162"/>
                    <a:pt x="155" y="165"/>
                  </a:cubicBezTo>
                  <a:cubicBezTo>
                    <a:pt x="150" y="172"/>
                    <a:pt x="140" y="177"/>
                    <a:pt x="136" y="183"/>
                  </a:cubicBezTo>
                  <a:cubicBezTo>
                    <a:pt x="132" y="191"/>
                    <a:pt x="134" y="201"/>
                    <a:pt x="140" y="212"/>
                  </a:cubicBezTo>
                  <a:cubicBezTo>
                    <a:pt x="156" y="203"/>
                    <a:pt x="171" y="190"/>
                    <a:pt x="183" y="177"/>
                  </a:cubicBezTo>
                  <a:close/>
                  <a:moveTo>
                    <a:pt x="120" y="0"/>
                  </a:moveTo>
                  <a:cubicBezTo>
                    <a:pt x="125" y="5"/>
                    <a:pt x="131" y="4"/>
                    <a:pt x="137" y="6"/>
                  </a:cubicBezTo>
                  <a:cubicBezTo>
                    <a:pt x="148" y="30"/>
                    <a:pt x="147" y="51"/>
                    <a:pt x="147" y="88"/>
                  </a:cubicBezTo>
                  <a:cubicBezTo>
                    <a:pt x="153" y="93"/>
                    <a:pt x="164" y="97"/>
                    <a:pt x="173" y="95"/>
                  </a:cubicBezTo>
                  <a:cubicBezTo>
                    <a:pt x="181" y="101"/>
                    <a:pt x="196" y="100"/>
                    <a:pt x="209" y="104"/>
                  </a:cubicBezTo>
                  <a:cubicBezTo>
                    <a:pt x="215" y="106"/>
                    <a:pt x="220" y="111"/>
                    <a:pt x="227" y="111"/>
                  </a:cubicBezTo>
                  <a:cubicBezTo>
                    <a:pt x="231" y="118"/>
                    <a:pt x="245" y="129"/>
                    <a:pt x="246" y="138"/>
                  </a:cubicBezTo>
                  <a:cubicBezTo>
                    <a:pt x="247" y="144"/>
                    <a:pt x="241" y="152"/>
                    <a:pt x="235" y="158"/>
                  </a:cubicBezTo>
                  <a:cubicBezTo>
                    <a:pt x="231" y="162"/>
                    <a:pt x="223" y="164"/>
                    <a:pt x="219" y="170"/>
                  </a:cubicBezTo>
                  <a:cubicBezTo>
                    <a:pt x="215" y="174"/>
                    <a:pt x="214" y="181"/>
                    <a:pt x="210" y="185"/>
                  </a:cubicBezTo>
                  <a:cubicBezTo>
                    <a:pt x="207" y="189"/>
                    <a:pt x="204" y="195"/>
                    <a:pt x="201" y="198"/>
                  </a:cubicBezTo>
                  <a:cubicBezTo>
                    <a:pt x="195" y="204"/>
                    <a:pt x="180" y="209"/>
                    <a:pt x="179" y="219"/>
                  </a:cubicBezTo>
                  <a:cubicBezTo>
                    <a:pt x="179" y="226"/>
                    <a:pt x="188" y="232"/>
                    <a:pt x="189" y="240"/>
                  </a:cubicBezTo>
                  <a:cubicBezTo>
                    <a:pt x="189" y="246"/>
                    <a:pt x="188" y="249"/>
                    <a:pt x="186" y="258"/>
                  </a:cubicBezTo>
                  <a:cubicBezTo>
                    <a:pt x="170" y="261"/>
                    <a:pt x="140" y="266"/>
                    <a:pt x="123" y="257"/>
                  </a:cubicBezTo>
                  <a:cubicBezTo>
                    <a:pt x="109" y="262"/>
                    <a:pt x="100" y="270"/>
                    <a:pt x="86" y="263"/>
                  </a:cubicBezTo>
                  <a:cubicBezTo>
                    <a:pt x="82" y="261"/>
                    <a:pt x="75" y="254"/>
                    <a:pt x="71" y="250"/>
                  </a:cubicBezTo>
                  <a:cubicBezTo>
                    <a:pt x="69" y="248"/>
                    <a:pt x="69" y="245"/>
                    <a:pt x="67" y="244"/>
                  </a:cubicBezTo>
                  <a:cubicBezTo>
                    <a:pt x="62" y="240"/>
                    <a:pt x="58" y="239"/>
                    <a:pt x="53" y="234"/>
                  </a:cubicBezTo>
                  <a:cubicBezTo>
                    <a:pt x="45" y="227"/>
                    <a:pt x="31" y="216"/>
                    <a:pt x="23" y="209"/>
                  </a:cubicBezTo>
                  <a:cubicBezTo>
                    <a:pt x="21" y="199"/>
                    <a:pt x="15" y="193"/>
                    <a:pt x="13" y="183"/>
                  </a:cubicBezTo>
                  <a:cubicBezTo>
                    <a:pt x="11" y="177"/>
                    <a:pt x="3" y="178"/>
                    <a:pt x="0" y="172"/>
                  </a:cubicBezTo>
                  <a:cubicBezTo>
                    <a:pt x="4" y="141"/>
                    <a:pt x="39" y="130"/>
                    <a:pt x="62" y="116"/>
                  </a:cubicBezTo>
                  <a:cubicBezTo>
                    <a:pt x="80" y="105"/>
                    <a:pt x="94" y="89"/>
                    <a:pt x="115" y="89"/>
                  </a:cubicBezTo>
                  <a:cubicBezTo>
                    <a:pt x="123" y="62"/>
                    <a:pt x="116" y="28"/>
                    <a:pt x="120" y="0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34" name="ïşḻíḑê"/>
            <p:cNvSpPr/>
            <p:nvPr userDrawn="1"/>
          </p:nvSpPr>
          <p:spPr bwMode="auto">
            <a:xfrm>
              <a:off x="5707063" y="2873375"/>
              <a:ext cx="133350" cy="109538"/>
            </a:xfrm>
            <a:custGeom>
              <a:avLst/>
              <a:gdLst>
                <a:gd name="T0" fmla="*/ 48 w 50"/>
                <a:gd name="T1" fmla="*/ 15 h 41"/>
                <a:gd name="T2" fmla="*/ 50 w 50"/>
                <a:gd name="T3" fmla="*/ 34 h 41"/>
                <a:gd name="T4" fmla="*/ 28 w 50"/>
                <a:gd name="T5" fmla="*/ 39 h 41"/>
                <a:gd name="T6" fmla="*/ 1 w 50"/>
                <a:gd name="T7" fmla="*/ 8 h 41"/>
                <a:gd name="T8" fmla="*/ 3 w 50"/>
                <a:gd name="T9" fmla="*/ 1 h 41"/>
                <a:gd name="T10" fmla="*/ 15 w 50"/>
                <a:gd name="T11" fmla="*/ 2 h 41"/>
                <a:gd name="T12" fmla="*/ 17 w 50"/>
                <a:gd name="T13" fmla="*/ 0 h 41"/>
                <a:gd name="T14" fmla="*/ 48 w 50"/>
                <a:gd name="T15" fmla="*/ 1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41">
                  <a:moveTo>
                    <a:pt x="48" y="15"/>
                  </a:moveTo>
                  <a:cubicBezTo>
                    <a:pt x="46" y="22"/>
                    <a:pt x="50" y="27"/>
                    <a:pt x="50" y="34"/>
                  </a:cubicBezTo>
                  <a:cubicBezTo>
                    <a:pt x="42" y="38"/>
                    <a:pt x="35" y="41"/>
                    <a:pt x="28" y="39"/>
                  </a:cubicBezTo>
                  <a:cubicBezTo>
                    <a:pt x="15" y="36"/>
                    <a:pt x="10" y="15"/>
                    <a:pt x="1" y="8"/>
                  </a:cubicBezTo>
                  <a:cubicBezTo>
                    <a:pt x="0" y="4"/>
                    <a:pt x="4" y="5"/>
                    <a:pt x="3" y="1"/>
                  </a:cubicBezTo>
                  <a:cubicBezTo>
                    <a:pt x="8" y="0"/>
                    <a:pt x="10" y="3"/>
                    <a:pt x="15" y="2"/>
                  </a:cubicBezTo>
                  <a:cubicBezTo>
                    <a:pt x="15" y="1"/>
                    <a:pt x="17" y="1"/>
                    <a:pt x="17" y="0"/>
                  </a:cubicBezTo>
                  <a:cubicBezTo>
                    <a:pt x="28" y="5"/>
                    <a:pt x="40" y="8"/>
                    <a:pt x="48" y="15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35" name="îś1ïḓé"/>
            <p:cNvSpPr/>
            <p:nvPr userDrawn="1"/>
          </p:nvSpPr>
          <p:spPr bwMode="auto">
            <a:xfrm>
              <a:off x="7399338" y="2919413"/>
              <a:ext cx="98425" cy="161925"/>
            </a:xfrm>
            <a:custGeom>
              <a:avLst/>
              <a:gdLst>
                <a:gd name="T0" fmla="*/ 16 w 37"/>
                <a:gd name="T1" fmla="*/ 1 h 61"/>
                <a:gd name="T2" fmla="*/ 20 w 37"/>
                <a:gd name="T3" fmla="*/ 2 h 61"/>
                <a:gd name="T4" fmla="*/ 35 w 37"/>
                <a:gd name="T5" fmla="*/ 57 h 61"/>
                <a:gd name="T6" fmla="*/ 28 w 37"/>
                <a:gd name="T7" fmla="*/ 61 h 61"/>
                <a:gd name="T8" fmla="*/ 0 w 37"/>
                <a:gd name="T9" fmla="*/ 51 h 61"/>
                <a:gd name="T10" fmla="*/ 12 w 37"/>
                <a:gd name="T11" fmla="*/ 5 h 61"/>
                <a:gd name="T12" fmla="*/ 16 w 37"/>
                <a:gd name="T13" fmla="*/ 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61">
                  <a:moveTo>
                    <a:pt x="16" y="1"/>
                  </a:moveTo>
                  <a:cubicBezTo>
                    <a:pt x="18" y="0"/>
                    <a:pt x="18" y="2"/>
                    <a:pt x="20" y="2"/>
                  </a:cubicBezTo>
                  <a:cubicBezTo>
                    <a:pt x="26" y="19"/>
                    <a:pt x="37" y="35"/>
                    <a:pt x="35" y="57"/>
                  </a:cubicBezTo>
                  <a:cubicBezTo>
                    <a:pt x="33" y="59"/>
                    <a:pt x="30" y="60"/>
                    <a:pt x="28" y="61"/>
                  </a:cubicBezTo>
                  <a:cubicBezTo>
                    <a:pt x="19" y="58"/>
                    <a:pt x="13" y="51"/>
                    <a:pt x="0" y="51"/>
                  </a:cubicBezTo>
                  <a:cubicBezTo>
                    <a:pt x="6" y="38"/>
                    <a:pt x="16" y="24"/>
                    <a:pt x="12" y="5"/>
                  </a:cubicBezTo>
                  <a:cubicBezTo>
                    <a:pt x="14" y="4"/>
                    <a:pt x="17" y="4"/>
                    <a:pt x="16" y="1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36" name="ïSlíḑe"/>
            <p:cNvSpPr/>
            <p:nvPr userDrawn="1"/>
          </p:nvSpPr>
          <p:spPr bwMode="auto">
            <a:xfrm>
              <a:off x="5335588" y="2973388"/>
              <a:ext cx="84138" cy="525463"/>
            </a:xfrm>
            <a:custGeom>
              <a:avLst/>
              <a:gdLst>
                <a:gd name="T0" fmla="*/ 8 w 32"/>
                <a:gd name="T1" fmla="*/ 0 h 197"/>
                <a:gd name="T2" fmla="*/ 11 w 32"/>
                <a:gd name="T3" fmla="*/ 1 h 197"/>
                <a:gd name="T4" fmla="*/ 18 w 32"/>
                <a:gd name="T5" fmla="*/ 53 h 197"/>
                <a:gd name="T6" fmla="*/ 21 w 32"/>
                <a:gd name="T7" fmla="*/ 126 h 197"/>
                <a:gd name="T8" fmla="*/ 21 w 32"/>
                <a:gd name="T9" fmla="*/ 163 h 197"/>
                <a:gd name="T10" fmla="*/ 24 w 32"/>
                <a:gd name="T11" fmla="*/ 195 h 197"/>
                <a:gd name="T12" fmla="*/ 3 w 32"/>
                <a:gd name="T13" fmla="*/ 182 h 197"/>
                <a:gd name="T14" fmla="*/ 2 w 32"/>
                <a:gd name="T15" fmla="*/ 143 h 197"/>
                <a:gd name="T16" fmla="*/ 6 w 32"/>
                <a:gd name="T17" fmla="*/ 34 h 197"/>
                <a:gd name="T18" fmla="*/ 8 w 32"/>
                <a:gd name="T19" fmla="*/ 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97">
                  <a:moveTo>
                    <a:pt x="8" y="0"/>
                  </a:moveTo>
                  <a:cubicBezTo>
                    <a:pt x="10" y="0"/>
                    <a:pt x="10" y="0"/>
                    <a:pt x="11" y="1"/>
                  </a:cubicBezTo>
                  <a:cubicBezTo>
                    <a:pt x="19" y="16"/>
                    <a:pt x="17" y="35"/>
                    <a:pt x="18" y="53"/>
                  </a:cubicBezTo>
                  <a:cubicBezTo>
                    <a:pt x="18" y="79"/>
                    <a:pt x="20" y="102"/>
                    <a:pt x="21" y="126"/>
                  </a:cubicBezTo>
                  <a:cubicBezTo>
                    <a:pt x="22" y="138"/>
                    <a:pt x="20" y="151"/>
                    <a:pt x="21" y="163"/>
                  </a:cubicBezTo>
                  <a:cubicBezTo>
                    <a:pt x="23" y="173"/>
                    <a:pt x="32" y="186"/>
                    <a:pt x="24" y="195"/>
                  </a:cubicBezTo>
                  <a:cubicBezTo>
                    <a:pt x="18" y="197"/>
                    <a:pt x="6" y="188"/>
                    <a:pt x="3" y="182"/>
                  </a:cubicBezTo>
                  <a:cubicBezTo>
                    <a:pt x="0" y="175"/>
                    <a:pt x="2" y="158"/>
                    <a:pt x="2" y="143"/>
                  </a:cubicBezTo>
                  <a:cubicBezTo>
                    <a:pt x="2" y="105"/>
                    <a:pt x="5" y="63"/>
                    <a:pt x="6" y="34"/>
                  </a:cubicBezTo>
                  <a:cubicBezTo>
                    <a:pt x="6" y="22"/>
                    <a:pt x="5" y="11"/>
                    <a:pt x="8" y="0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37" name="ïSľíḑe"/>
            <p:cNvSpPr/>
            <p:nvPr userDrawn="1"/>
          </p:nvSpPr>
          <p:spPr bwMode="auto">
            <a:xfrm>
              <a:off x="9515475" y="3048000"/>
              <a:ext cx="11113" cy="12700"/>
            </a:xfrm>
            <a:custGeom>
              <a:avLst/>
              <a:gdLst>
                <a:gd name="T0" fmla="*/ 1 w 4"/>
                <a:gd name="T1" fmla="*/ 0 h 5"/>
                <a:gd name="T2" fmla="*/ 2 w 4"/>
                <a:gd name="T3" fmla="*/ 5 h 5"/>
                <a:gd name="T4" fmla="*/ 1 w 4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1" y="0"/>
                  </a:moveTo>
                  <a:cubicBezTo>
                    <a:pt x="4" y="1"/>
                    <a:pt x="4" y="4"/>
                    <a:pt x="2" y="5"/>
                  </a:cubicBezTo>
                  <a:cubicBezTo>
                    <a:pt x="0" y="5"/>
                    <a:pt x="0" y="2"/>
                    <a:pt x="1" y="0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38" name="iŝ1íḍè"/>
            <p:cNvSpPr/>
            <p:nvPr userDrawn="1"/>
          </p:nvSpPr>
          <p:spPr bwMode="auto">
            <a:xfrm>
              <a:off x="9528175" y="3057525"/>
              <a:ext cx="34925" cy="30163"/>
            </a:xfrm>
            <a:custGeom>
              <a:avLst/>
              <a:gdLst>
                <a:gd name="T0" fmla="*/ 0 w 13"/>
                <a:gd name="T1" fmla="*/ 0 h 11"/>
                <a:gd name="T2" fmla="*/ 13 w 13"/>
                <a:gd name="T3" fmla="*/ 5 h 11"/>
                <a:gd name="T4" fmla="*/ 0 w 13"/>
                <a:gd name="T5" fmla="*/ 11 h 11"/>
                <a:gd name="T6" fmla="*/ 0 w 13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0" y="0"/>
                  </a:moveTo>
                  <a:cubicBezTo>
                    <a:pt x="4" y="2"/>
                    <a:pt x="7" y="8"/>
                    <a:pt x="13" y="5"/>
                  </a:cubicBezTo>
                  <a:cubicBezTo>
                    <a:pt x="12" y="10"/>
                    <a:pt x="7" y="11"/>
                    <a:pt x="0" y="1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39" name="îśľîḓê"/>
            <p:cNvSpPr/>
            <p:nvPr userDrawn="1"/>
          </p:nvSpPr>
          <p:spPr bwMode="auto">
            <a:xfrm>
              <a:off x="4302125" y="3081338"/>
              <a:ext cx="301625" cy="168275"/>
            </a:xfrm>
            <a:custGeom>
              <a:avLst/>
              <a:gdLst>
                <a:gd name="T0" fmla="*/ 112 w 113"/>
                <a:gd name="T1" fmla="*/ 63 h 63"/>
                <a:gd name="T2" fmla="*/ 68 w 113"/>
                <a:gd name="T3" fmla="*/ 36 h 63"/>
                <a:gd name="T4" fmla="*/ 0 w 113"/>
                <a:gd name="T5" fmla="*/ 5 h 63"/>
                <a:gd name="T6" fmla="*/ 1 w 113"/>
                <a:gd name="T7" fmla="*/ 2 h 63"/>
                <a:gd name="T8" fmla="*/ 4 w 113"/>
                <a:gd name="T9" fmla="*/ 0 h 63"/>
                <a:gd name="T10" fmla="*/ 35 w 113"/>
                <a:gd name="T11" fmla="*/ 5 h 63"/>
                <a:gd name="T12" fmla="*/ 36 w 113"/>
                <a:gd name="T13" fmla="*/ 8 h 63"/>
                <a:gd name="T14" fmla="*/ 38 w 113"/>
                <a:gd name="T15" fmla="*/ 6 h 63"/>
                <a:gd name="T16" fmla="*/ 56 w 113"/>
                <a:gd name="T17" fmla="*/ 15 h 63"/>
                <a:gd name="T18" fmla="*/ 77 w 113"/>
                <a:gd name="T19" fmla="*/ 23 h 63"/>
                <a:gd name="T20" fmla="*/ 91 w 113"/>
                <a:gd name="T21" fmla="*/ 34 h 63"/>
                <a:gd name="T22" fmla="*/ 111 w 113"/>
                <a:gd name="T23" fmla="*/ 48 h 63"/>
                <a:gd name="T24" fmla="*/ 112 w 113"/>
                <a:gd name="T2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" h="63">
                  <a:moveTo>
                    <a:pt x="112" y="63"/>
                  </a:moveTo>
                  <a:cubicBezTo>
                    <a:pt x="91" y="60"/>
                    <a:pt x="84" y="44"/>
                    <a:pt x="68" y="36"/>
                  </a:cubicBezTo>
                  <a:cubicBezTo>
                    <a:pt x="42" y="29"/>
                    <a:pt x="14" y="24"/>
                    <a:pt x="0" y="5"/>
                  </a:cubicBezTo>
                  <a:cubicBezTo>
                    <a:pt x="0" y="3"/>
                    <a:pt x="1" y="3"/>
                    <a:pt x="1" y="2"/>
                  </a:cubicBezTo>
                  <a:cubicBezTo>
                    <a:pt x="2" y="1"/>
                    <a:pt x="3" y="0"/>
                    <a:pt x="4" y="0"/>
                  </a:cubicBezTo>
                  <a:cubicBezTo>
                    <a:pt x="13" y="2"/>
                    <a:pt x="25" y="2"/>
                    <a:pt x="35" y="5"/>
                  </a:cubicBezTo>
                  <a:cubicBezTo>
                    <a:pt x="35" y="5"/>
                    <a:pt x="36" y="8"/>
                    <a:pt x="36" y="8"/>
                  </a:cubicBezTo>
                  <a:cubicBezTo>
                    <a:pt x="37" y="8"/>
                    <a:pt x="38" y="6"/>
                    <a:pt x="38" y="6"/>
                  </a:cubicBezTo>
                  <a:cubicBezTo>
                    <a:pt x="45" y="9"/>
                    <a:pt x="50" y="12"/>
                    <a:pt x="56" y="15"/>
                  </a:cubicBezTo>
                  <a:cubicBezTo>
                    <a:pt x="63" y="18"/>
                    <a:pt x="70" y="20"/>
                    <a:pt x="77" y="23"/>
                  </a:cubicBezTo>
                  <a:cubicBezTo>
                    <a:pt x="82" y="26"/>
                    <a:pt x="85" y="31"/>
                    <a:pt x="91" y="34"/>
                  </a:cubicBezTo>
                  <a:cubicBezTo>
                    <a:pt x="98" y="38"/>
                    <a:pt x="107" y="40"/>
                    <a:pt x="111" y="48"/>
                  </a:cubicBezTo>
                  <a:cubicBezTo>
                    <a:pt x="113" y="53"/>
                    <a:pt x="113" y="58"/>
                    <a:pt x="112" y="63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40" name="í$ḷïdê"/>
            <p:cNvSpPr/>
            <p:nvPr userDrawn="1"/>
          </p:nvSpPr>
          <p:spPr bwMode="auto">
            <a:xfrm>
              <a:off x="9412288" y="3119438"/>
              <a:ext cx="444500" cy="557213"/>
            </a:xfrm>
            <a:custGeom>
              <a:avLst/>
              <a:gdLst>
                <a:gd name="T0" fmla="*/ 122 w 167"/>
                <a:gd name="T1" fmla="*/ 68 h 209"/>
                <a:gd name="T2" fmla="*/ 164 w 167"/>
                <a:gd name="T3" fmla="*/ 88 h 209"/>
                <a:gd name="T4" fmla="*/ 149 w 167"/>
                <a:gd name="T5" fmla="*/ 100 h 209"/>
                <a:gd name="T6" fmla="*/ 128 w 167"/>
                <a:gd name="T7" fmla="*/ 106 h 209"/>
                <a:gd name="T8" fmla="*/ 128 w 167"/>
                <a:gd name="T9" fmla="*/ 145 h 209"/>
                <a:gd name="T10" fmla="*/ 119 w 167"/>
                <a:gd name="T11" fmla="*/ 167 h 209"/>
                <a:gd name="T12" fmla="*/ 103 w 167"/>
                <a:gd name="T13" fmla="*/ 188 h 209"/>
                <a:gd name="T14" fmla="*/ 82 w 167"/>
                <a:gd name="T15" fmla="*/ 202 h 209"/>
                <a:gd name="T16" fmla="*/ 29 w 167"/>
                <a:gd name="T17" fmla="*/ 202 h 209"/>
                <a:gd name="T18" fmla="*/ 2 w 167"/>
                <a:gd name="T19" fmla="*/ 190 h 209"/>
                <a:gd name="T20" fmla="*/ 0 w 167"/>
                <a:gd name="T21" fmla="*/ 177 h 209"/>
                <a:gd name="T22" fmla="*/ 74 w 167"/>
                <a:gd name="T23" fmla="*/ 167 h 209"/>
                <a:gd name="T24" fmla="*/ 101 w 167"/>
                <a:gd name="T25" fmla="*/ 114 h 209"/>
                <a:gd name="T26" fmla="*/ 69 w 167"/>
                <a:gd name="T27" fmla="*/ 106 h 209"/>
                <a:gd name="T28" fmla="*/ 52 w 167"/>
                <a:gd name="T29" fmla="*/ 114 h 209"/>
                <a:gd name="T30" fmla="*/ 10 w 167"/>
                <a:gd name="T31" fmla="*/ 84 h 209"/>
                <a:gd name="T32" fmla="*/ 35 w 167"/>
                <a:gd name="T33" fmla="*/ 90 h 209"/>
                <a:gd name="T34" fmla="*/ 68 w 167"/>
                <a:gd name="T35" fmla="*/ 82 h 209"/>
                <a:gd name="T36" fmla="*/ 91 w 167"/>
                <a:gd name="T37" fmla="*/ 75 h 209"/>
                <a:gd name="T38" fmla="*/ 77 w 167"/>
                <a:gd name="T39" fmla="*/ 69 h 209"/>
                <a:gd name="T40" fmla="*/ 82 w 167"/>
                <a:gd name="T41" fmla="*/ 21 h 209"/>
                <a:gd name="T42" fmla="*/ 62 w 167"/>
                <a:gd name="T43" fmla="*/ 28 h 209"/>
                <a:gd name="T44" fmla="*/ 31 w 167"/>
                <a:gd name="T45" fmla="*/ 15 h 209"/>
                <a:gd name="T46" fmla="*/ 60 w 167"/>
                <a:gd name="T47" fmla="*/ 14 h 209"/>
                <a:gd name="T48" fmla="*/ 85 w 167"/>
                <a:gd name="T49" fmla="*/ 0 h 209"/>
                <a:gd name="T50" fmla="*/ 126 w 167"/>
                <a:gd name="T51" fmla="*/ 8 h 209"/>
                <a:gd name="T52" fmla="*/ 111 w 167"/>
                <a:gd name="T53" fmla="*/ 50 h 209"/>
                <a:gd name="T54" fmla="*/ 122 w 167"/>
                <a:gd name="T55" fmla="*/ 68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7" h="209">
                  <a:moveTo>
                    <a:pt x="122" y="68"/>
                  </a:moveTo>
                  <a:cubicBezTo>
                    <a:pt x="144" y="64"/>
                    <a:pt x="167" y="72"/>
                    <a:pt x="164" y="88"/>
                  </a:cubicBezTo>
                  <a:cubicBezTo>
                    <a:pt x="163" y="96"/>
                    <a:pt x="154" y="94"/>
                    <a:pt x="149" y="100"/>
                  </a:cubicBezTo>
                  <a:cubicBezTo>
                    <a:pt x="141" y="96"/>
                    <a:pt x="133" y="101"/>
                    <a:pt x="128" y="106"/>
                  </a:cubicBezTo>
                  <a:cubicBezTo>
                    <a:pt x="127" y="121"/>
                    <a:pt x="130" y="134"/>
                    <a:pt x="128" y="145"/>
                  </a:cubicBezTo>
                  <a:cubicBezTo>
                    <a:pt x="127" y="151"/>
                    <a:pt x="122" y="160"/>
                    <a:pt x="119" y="167"/>
                  </a:cubicBezTo>
                  <a:cubicBezTo>
                    <a:pt x="115" y="175"/>
                    <a:pt x="109" y="181"/>
                    <a:pt x="103" y="188"/>
                  </a:cubicBezTo>
                  <a:cubicBezTo>
                    <a:pt x="94" y="187"/>
                    <a:pt x="90" y="199"/>
                    <a:pt x="82" y="202"/>
                  </a:cubicBezTo>
                  <a:cubicBezTo>
                    <a:pt x="64" y="209"/>
                    <a:pt x="41" y="198"/>
                    <a:pt x="29" y="202"/>
                  </a:cubicBezTo>
                  <a:cubicBezTo>
                    <a:pt x="20" y="199"/>
                    <a:pt x="9" y="197"/>
                    <a:pt x="2" y="190"/>
                  </a:cubicBezTo>
                  <a:cubicBezTo>
                    <a:pt x="0" y="187"/>
                    <a:pt x="1" y="181"/>
                    <a:pt x="0" y="177"/>
                  </a:cubicBezTo>
                  <a:cubicBezTo>
                    <a:pt x="19" y="185"/>
                    <a:pt x="54" y="179"/>
                    <a:pt x="74" y="167"/>
                  </a:cubicBezTo>
                  <a:cubicBezTo>
                    <a:pt x="92" y="156"/>
                    <a:pt x="103" y="137"/>
                    <a:pt x="101" y="114"/>
                  </a:cubicBezTo>
                  <a:cubicBezTo>
                    <a:pt x="94" y="104"/>
                    <a:pt x="79" y="109"/>
                    <a:pt x="69" y="106"/>
                  </a:cubicBezTo>
                  <a:cubicBezTo>
                    <a:pt x="64" y="109"/>
                    <a:pt x="58" y="111"/>
                    <a:pt x="52" y="114"/>
                  </a:cubicBezTo>
                  <a:cubicBezTo>
                    <a:pt x="29" y="126"/>
                    <a:pt x="16" y="102"/>
                    <a:pt x="10" y="84"/>
                  </a:cubicBezTo>
                  <a:cubicBezTo>
                    <a:pt x="17" y="92"/>
                    <a:pt x="30" y="89"/>
                    <a:pt x="35" y="90"/>
                  </a:cubicBezTo>
                  <a:cubicBezTo>
                    <a:pt x="43" y="86"/>
                    <a:pt x="56" y="84"/>
                    <a:pt x="68" y="82"/>
                  </a:cubicBezTo>
                  <a:cubicBezTo>
                    <a:pt x="76" y="81"/>
                    <a:pt x="88" y="83"/>
                    <a:pt x="91" y="75"/>
                  </a:cubicBezTo>
                  <a:cubicBezTo>
                    <a:pt x="91" y="66"/>
                    <a:pt x="84" y="71"/>
                    <a:pt x="77" y="69"/>
                  </a:cubicBezTo>
                  <a:cubicBezTo>
                    <a:pt x="63" y="56"/>
                    <a:pt x="74" y="32"/>
                    <a:pt x="82" y="21"/>
                  </a:cubicBezTo>
                  <a:cubicBezTo>
                    <a:pt x="76" y="18"/>
                    <a:pt x="70" y="27"/>
                    <a:pt x="62" y="28"/>
                  </a:cubicBezTo>
                  <a:cubicBezTo>
                    <a:pt x="48" y="31"/>
                    <a:pt x="33" y="28"/>
                    <a:pt x="31" y="15"/>
                  </a:cubicBezTo>
                  <a:cubicBezTo>
                    <a:pt x="40" y="21"/>
                    <a:pt x="47" y="18"/>
                    <a:pt x="60" y="14"/>
                  </a:cubicBezTo>
                  <a:cubicBezTo>
                    <a:pt x="71" y="10"/>
                    <a:pt x="80" y="7"/>
                    <a:pt x="85" y="0"/>
                  </a:cubicBezTo>
                  <a:cubicBezTo>
                    <a:pt x="101" y="0"/>
                    <a:pt x="115" y="3"/>
                    <a:pt x="126" y="8"/>
                  </a:cubicBezTo>
                  <a:cubicBezTo>
                    <a:pt x="140" y="24"/>
                    <a:pt x="108" y="31"/>
                    <a:pt x="111" y="50"/>
                  </a:cubicBezTo>
                  <a:cubicBezTo>
                    <a:pt x="112" y="58"/>
                    <a:pt x="119" y="58"/>
                    <a:pt x="122" y="68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41" name="íSliḑê"/>
            <p:cNvSpPr/>
            <p:nvPr userDrawn="1"/>
          </p:nvSpPr>
          <p:spPr bwMode="auto">
            <a:xfrm>
              <a:off x="7308850" y="3170238"/>
              <a:ext cx="130175" cy="403225"/>
            </a:xfrm>
            <a:custGeom>
              <a:avLst/>
              <a:gdLst>
                <a:gd name="T0" fmla="*/ 12 w 49"/>
                <a:gd name="T1" fmla="*/ 0 h 151"/>
                <a:gd name="T2" fmla="*/ 14 w 49"/>
                <a:gd name="T3" fmla="*/ 1 h 151"/>
                <a:gd name="T4" fmla="*/ 12 w 49"/>
                <a:gd name="T5" fmla="*/ 26 h 151"/>
                <a:gd name="T6" fmla="*/ 20 w 49"/>
                <a:gd name="T7" fmla="*/ 52 h 151"/>
                <a:gd name="T8" fmla="*/ 31 w 49"/>
                <a:gd name="T9" fmla="*/ 70 h 151"/>
                <a:gd name="T10" fmla="*/ 30 w 49"/>
                <a:gd name="T11" fmla="*/ 90 h 151"/>
                <a:gd name="T12" fmla="*/ 37 w 49"/>
                <a:gd name="T13" fmla="*/ 93 h 151"/>
                <a:gd name="T14" fmla="*/ 34 w 49"/>
                <a:gd name="T15" fmla="*/ 151 h 151"/>
                <a:gd name="T16" fmla="*/ 14 w 49"/>
                <a:gd name="T17" fmla="*/ 127 h 151"/>
                <a:gd name="T18" fmla="*/ 8 w 49"/>
                <a:gd name="T19" fmla="*/ 120 h 151"/>
                <a:gd name="T20" fmla="*/ 1 w 49"/>
                <a:gd name="T21" fmla="*/ 62 h 151"/>
                <a:gd name="T22" fmla="*/ 5 w 49"/>
                <a:gd name="T23" fmla="*/ 46 h 151"/>
                <a:gd name="T24" fmla="*/ 5 w 49"/>
                <a:gd name="T25" fmla="*/ 22 h 151"/>
                <a:gd name="T26" fmla="*/ 12 w 49"/>
                <a:gd name="T27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" h="151">
                  <a:moveTo>
                    <a:pt x="12" y="0"/>
                  </a:moveTo>
                  <a:cubicBezTo>
                    <a:pt x="13" y="0"/>
                    <a:pt x="14" y="0"/>
                    <a:pt x="14" y="1"/>
                  </a:cubicBezTo>
                  <a:cubicBezTo>
                    <a:pt x="16" y="13"/>
                    <a:pt x="11" y="17"/>
                    <a:pt x="12" y="26"/>
                  </a:cubicBezTo>
                  <a:cubicBezTo>
                    <a:pt x="13" y="35"/>
                    <a:pt x="16" y="45"/>
                    <a:pt x="20" y="52"/>
                  </a:cubicBezTo>
                  <a:cubicBezTo>
                    <a:pt x="23" y="58"/>
                    <a:pt x="29" y="62"/>
                    <a:pt x="31" y="70"/>
                  </a:cubicBezTo>
                  <a:cubicBezTo>
                    <a:pt x="32" y="77"/>
                    <a:pt x="29" y="83"/>
                    <a:pt x="30" y="90"/>
                  </a:cubicBezTo>
                  <a:cubicBezTo>
                    <a:pt x="32" y="93"/>
                    <a:pt x="35" y="89"/>
                    <a:pt x="37" y="93"/>
                  </a:cubicBezTo>
                  <a:cubicBezTo>
                    <a:pt x="30" y="114"/>
                    <a:pt x="49" y="139"/>
                    <a:pt x="34" y="151"/>
                  </a:cubicBezTo>
                  <a:cubicBezTo>
                    <a:pt x="23" y="148"/>
                    <a:pt x="20" y="139"/>
                    <a:pt x="14" y="127"/>
                  </a:cubicBezTo>
                  <a:cubicBezTo>
                    <a:pt x="13" y="124"/>
                    <a:pt x="9" y="123"/>
                    <a:pt x="8" y="120"/>
                  </a:cubicBezTo>
                  <a:cubicBezTo>
                    <a:pt x="2" y="105"/>
                    <a:pt x="0" y="80"/>
                    <a:pt x="1" y="62"/>
                  </a:cubicBezTo>
                  <a:cubicBezTo>
                    <a:pt x="1" y="56"/>
                    <a:pt x="4" y="52"/>
                    <a:pt x="5" y="46"/>
                  </a:cubicBezTo>
                  <a:cubicBezTo>
                    <a:pt x="5" y="38"/>
                    <a:pt x="3" y="29"/>
                    <a:pt x="5" y="22"/>
                  </a:cubicBezTo>
                  <a:cubicBezTo>
                    <a:pt x="6" y="15"/>
                    <a:pt x="11" y="6"/>
                    <a:pt x="12" y="0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42" name="íṩlïḑé"/>
            <p:cNvSpPr/>
            <p:nvPr userDrawn="1"/>
          </p:nvSpPr>
          <p:spPr bwMode="auto">
            <a:xfrm>
              <a:off x="8791575" y="3359150"/>
              <a:ext cx="184150" cy="195263"/>
            </a:xfrm>
            <a:custGeom>
              <a:avLst/>
              <a:gdLst>
                <a:gd name="T0" fmla="*/ 23 w 69"/>
                <a:gd name="T1" fmla="*/ 67 h 73"/>
                <a:gd name="T2" fmla="*/ 1 w 69"/>
                <a:gd name="T3" fmla="*/ 43 h 73"/>
                <a:gd name="T4" fmla="*/ 8 w 69"/>
                <a:gd name="T5" fmla="*/ 0 h 73"/>
                <a:gd name="T6" fmla="*/ 27 w 69"/>
                <a:gd name="T7" fmla="*/ 5 h 73"/>
                <a:gd name="T8" fmla="*/ 36 w 69"/>
                <a:gd name="T9" fmla="*/ 12 h 73"/>
                <a:gd name="T10" fmla="*/ 45 w 69"/>
                <a:gd name="T11" fmla="*/ 17 h 73"/>
                <a:gd name="T12" fmla="*/ 56 w 69"/>
                <a:gd name="T13" fmla="*/ 29 h 73"/>
                <a:gd name="T14" fmla="*/ 66 w 69"/>
                <a:gd name="T15" fmla="*/ 50 h 73"/>
                <a:gd name="T16" fmla="*/ 45 w 69"/>
                <a:gd name="T17" fmla="*/ 72 h 73"/>
                <a:gd name="T18" fmla="*/ 23 w 69"/>
                <a:gd name="T19" fmla="*/ 67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73">
                  <a:moveTo>
                    <a:pt x="23" y="67"/>
                  </a:moveTo>
                  <a:cubicBezTo>
                    <a:pt x="14" y="60"/>
                    <a:pt x="4" y="55"/>
                    <a:pt x="1" y="43"/>
                  </a:cubicBezTo>
                  <a:cubicBezTo>
                    <a:pt x="7" y="30"/>
                    <a:pt x="0" y="11"/>
                    <a:pt x="8" y="0"/>
                  </a:cubicBezTo>
                  <a:cubicBezTo>
                    <a:pt x="12" y="3"/>
                    <a:pt x="21" y="2"/>
                    <a:pt x="27" y="5"/>
                  </a:cubicBezTo>
                  <a:cubicBezTo>
                    <a:pt x="30" y="6"/>
                    <a:pt x="32" y="9"/>
                    <a:pt x="36" y="12"/>
                  </a:cubicBezTo>
                  <a:cubicBezTo>
                    <a:pt x="39" y="14"/>
                    <a:pt x="43" y="15"/>
                    <a:pt x="45" y="17"/>
                  </a:cubicBezTo>
                  <a:cubicBezTo>
                    <a:pt x="49" y="20"/>
                    <a:pt x="52" y="25"/>
                    <a:pt x="56" y="29"/>
                  </a:cubicBezTo>
                  <a:cubicBezTo>
                    <a:pt x="64" y="36"/>
                    <a:pt x="69" y="37"/>
                    <a:pt x="66" y="50"/>
                  </a:cubicBezTo>
                  <a:cubicBezTo>
                    <a:pt x="64" y="57"/>
                    <a:pt x="53" y="71"/>
                    <a:pt x="45" y="72"/>
                  </a:cubicBezTo>
                  <a:cubicBezTo>
                    <a:pt x="36" y="73"/>
                    <a:pt x="31" y="64"/>
                    <a:pt x="23" y="67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43" name="íṣľïḋê"/>
            <p:cNvSpPr/>
            <p:nvPr userDrawn="1"/>
          </p:nvSpPr>
          <p:spPr bwMode="auto">
            <a:xfrm>
              <a:off x="9166225" y="2730500"/>
              <a:ext cx="825500" cy="554038"/>
            </a:xfrm>
            <a:custGeom>
              <a:avLst/>
              <a:gdLst>
                <a:gd name="T0" fmla="*/ 149 w 310"/>
                <a:gd name="T1" fmla="*/ 128 h 208"/>
                <a:gd name="T2" fmla="*/ 136 w 310"/>
                <a:gd name="T3" fmla="*/ 134 h 208"/>
                <a:gd name="T4" fmla="*/ 132 w 310"/>
                <a:gd name="T5" fmla="*/ 119 h 208"/>
                <a:gd name="T6" fmla="*/ 213 w 310"/>
                <a:gd name="T7" fmla="*/ 42 h 208"/>
                <a:gd name="T8" fmla="*/ 226 w 310"/>
                <a:gd name="T9" fmla="*/ 26 h 208"/>
                <a:gd name="T10" fmla="*/ 210 w 310"/>
                <a:gd name="T11" fmla="*/ 12 h 208"/>
                <a:gd name="T12" fmla="*/ 256 w 310"/>
                <a:gd name="T13" fmla="*/ 38 h 208"/>
                <a:gd name="T14" fmla="*/ 243 w 310"/>
                <a:gd name="T15" fmla="*/ 94 h 208"/>
                <a:gd name="T16" fmla="*/ 310 w 310"/>
                <a:gd name="T17" fmla="*/ 119 h 208"/>
                <a:gd name="T18" fmla="*/ 288 w 310"/>
                <a:gd name="T19" fmla="*/ 127 h 208"/>
                <a:gd name="T20" fmla="*/ 259 w 310"/>
                <a:gd name="T21" fmla="*/ 121 h 208"/>
                <a:gd name="T22" fmla="*/ 265 w 310"/>
                <a:gd name="T23" fmla="*/ 115 h 208"/>
                <a:gd name="T24" fmla="*/ 228 w 310"/>
                <a:gd name="T25" fmla="*/ 141 h 208"/>
                <a:gd name="T26" fmla="*/ 185 w 310"/>
                <a:gd name="T27" fmla="*/ 128 h 208"/>
                <a:gd name="T28" fmla="*/ 139 w 310"/>
                <a:gd name="T29" fmla="*/ 154 h 208"/>
                <a:gd name="T30" fmla="*/ 109 w 310"/>
                <a:gd name="T31" fmla="*/ 154 h 208"/>
                <a:gd name="T32" fmla="*/ 100 w 310"/>
                <a:gd name="T33" fmla="*/ 155 h 208"/>
                <a:gd name="T34" fmla="*/ 25 w 310"/>
                <a:gd name="T35" fmla="*/ 208 h 208"/>
                <a:gd name="T36" fmla="*/ 21 w 310"/>
                <a:gd name="T37" fmla="*/ 159 h 208"/>
                <a:gd name="T38" fmla="*/ 46 w 310"/>
                <a:gd name="T39" fmla="*/ 162 h 208"/>
                <a:gd name="T40" fmla="*/ 65 w 310"/>
                <a:gd name="T41" fmla="*/ 67 h 208"/>
                <a:gd name="T42" fmla="*/ 106 w 310"/>
                <a:gd name="T43" fmla="*/ 144 h 208"/>
                <a:gd name="T44" fmla="*/ 92 w 310"/>
                <a:gd name="T45" fmla="*/ 36 h 208"/>
                <a:gd name="T46" fmla="*/ 152 w 310"/>
                <a:gd name="T47" fmla="*/ 98 h 208"/>
                <a:gd name="T48" fmla="*/ 154 w 310"/>
                <a:gd name="T49" fmla="*/ 88 h 208"/>
                <a:gd name="T50" fmla="*/ 150 w 310"/>
                <a:gd name="T51" fmla="*/ 60 h 208"/>
                <a:gd name="T52" fmla="*/ 136 w 310"/>
                <a:gd name="T53" fmla="*/ 7 h 208"/>
                <a:gd name="T54" fmla="*/ 195 w 310"/>
                <a:gd name="T55" fmla="*/ 41 h 208"/>
                <a:gd name="T56" fmla="*/ 176 w 310"/>
                <a:gd name="T57" fmla="*/ 93 h 208"/>
                <a:gd name="T58" fmla="*/ 157 w 310"/>
                <a:gd name="T59" fmla="*/ 127 h 208"/>
                <a:gd name="T60" fmla="*/ 210 w 310"/>
                <a:gd name="T61" fmla="*/ 113 h 208"/>
                <a:gd name="T62" fmla="*/ 212 w 310"/>
                <a:gd name="T63" fmla="*/ 98 h 208"/>
                <a:gd name="T64" fmla="*/ 224 w 310"/>
                <a:gd name="T65" fmla="*/ 80 h 208"/>
                <a:gd name="T66" fmla="*/ 212 w 310"/>
                <a:gd name="T67" fmla="*/ 36 h 208"/>
                <a:gd name="T68" fmla="*/ 213 w 310"/>
                <a:gd name="T69" fmla="*/ 42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0" h="208">
                  <a:moveTo>
                    <a:pt x="136" y="134"/>
                  </a:moveTo>
                  <a:cubicBezTo>
                    <a:pt x="143" y="134"/>
                    <a:pt x="148" y="133"/>
                    <a:pt x="149" y="128"/>
                  </a:cubicBezTo>
                  <a:cubicBezTo>
                    <a:pt x="143" y="131"/>
                    <a:pt x="140" y="125"/>
                    <a:pt x="136" y="123"/>
                  </a:cubicBezTo>
                  <a:cubicBezTo>
                    <a:pt x="136" y="134"/>
                    <a:pt x="136" y="134"/>
                    <a:pt x="136" y="134"/>
                  </a:cubicBezTo>
                  <a:close/>
                  <a:moveTo>
                    <a:pt x="133" y="124"/>
                  </a:moveTo>
                  <a:cubicBezTo>
                    <a:pt x="135" y="123"/>
                    <a:pt x="135" y="120"/>
                    <a:pt x="132" y="119"/>
                  </a:cubicBezTo>
                  <a:cubicBezTo>
                    <a:pt x="131" y="121"/>
                    <a:pt x="131" y="124"/>
                    <a:pt x="133" y="124"/>
                  </a:cubicBezTo>
                  <a:close/>
                  <a:moveTo>
                    <a:pt x="213" y="42"/>
                  </a:moveTo>
                  <a:cubicBezTo>
                    <a:pt x="216" y="45"/>
                    <a:pt x="221" y="46"/>
                    <a:pt x="225" y="48"/>
                  </a:cubicBezTo>
                  <a:cubicBezTo>
                    <a:pt x="230" y="41"/>
                    <a:pt x="227" y="31"/>
                    <a:pt x="226" y="26"/>
                  </a:cubicBezTo>
                  <a:cubicBezTo>
                    <a:pt x="219" y="21"/>
                    <a:pt x="208" y="19"/>
                    <a:pt x="201" y="13"/>
                  </a:cubicBezTo>
                  <a:cubicBezTo>
                    <a:pt x="202" y="11"/>
                    <a:pt x="207" y="13"/>
                    <a:pt x="210" y="12"/>
                  </a:cubicBezTo>
                  <a:cubicBezTo>
                    <a:pt x="215" y="6"/>
                    <a:pt x="225" y="6"/>
                    <a:pt x="230" y="0"/>
                  </a:cubicBezTo>
                  <a:cubicBezTo>
                    <a:pt x="249" y="3"/>
                    <a:pt x="284" y="22"/>
                    <a:pt x="256" y="38"/>
                  </a:cubicBezTo>
                  <a:cubicBezTo>
                    <a:pt x="253" y="45"/>
                    <a:pt x="251" y="53"/>
                    <a:pt x="247" y="57"/>
                  </a:cubicBezTo>
                  <a:cubicBezTo>
                    <a:pt x="247" y="70"/>
                    <a:pt x="240" y="83"/>
                    <a:pt x="243" y="94"/>
                  </a:cubicBezTo>
                  <a:cubicBezTo>
                    <a:pt x="243" y="99"/>
                    <a:pt x="239" y="100"/>
                    <a:pt x="241" y="106"/>
                  </a:cubicBezTo>
                  <a:cubicBezTo>
                    <a:pt x="264" y="105"/>
                    <a:pt x="298" y="99"/>
                    <a:pt x="310" y="119"/>
                  </a:cubicBezTo>
                  <a:cubicBezTo>
                    <a:pt x="306" y="127"/>
                    <a:pt x="293" y="131"/>
                    <a:pt x="285" y="130"/>
                  </a:cubicBezTo>
                  <a:cubicBezTo>
                    <a:pt x="283" y="126"/>
                    <a:pt x="289" y="129"/>
                    <a:pt x="288" y="127"/>
                  </a:cubicBezTo>
                  <a:cubicBezTo>
                    <a:pt x="287" y="124"/>
                    <a:pt x="281" y="128"/>
                    <a:pt x="278" y="128"/>
                  </a:cubicBezTo>
                  <a:cubicBezTo>
                    <a:pt x="273" y="124"/>
                    <a:pt x="262" y="126"/>
                    <a:pt x="259" y="121"/>
                  </a:cubicBezTo>
                  <a:cubicBezTo>
                    <a:pt x="269" y="121"/>
                    <a:pt x="272" y="116"/>
                    <a:pt x="280" y="115"/>
                  </a:cubicBezTo>
                  <a:cubicBezTo>
                    <a:pt x="277" y="109"/>
                    <a:pt x="270" y="114"/>
                    <a:pt x="265" y="115"/>
                  </a:cubicBezTo>
                  <a:cubicBezTo>
                    <a:pt x="254" y="115"/>
                    <a:pt x="246" y="113"/>
                    <a:pt x="239" y="117"/>
                  </a:cubicBezTo>
                  <a:cubicBezTo>
                    <a:pt x="230" y="123"/>
                    <a:pt x="233" y="133"/>
                    <a:pt x="228" y="141"/>
                  </a:cubicBezTo>
                  <a:cubicBezTo>
                    <a:pt x="217" y="139"/>
                    <a:pt x="209" y="134"/>
                    <a:pt x="211" y="121"/>
                  </a:cubicBezTo>
                  <a:cubicBezTo>
                    <a:pt x="202" y="119"/>
                    <a:pt x="194" y="124"/>
                    <a:pt x="185" y="128"/>
                  </a:cubicBezTo>
                  <a:cubicBezTo>
                    <a:pt x="169" y="133"/>
                    <a:pt x="152" y="135"/>
                    <a:pt x="139" y="143"/>
                  </a:cubicBezTo>
                  <a:cubicBezTo>
                    <a:pt x="138" y="148"/>
                    <a:pt x="139" y="148"/>
                    <a:pt x="139" y="154"/>
                  </a:cubicBezTo>
                  <a:cubicBezTo>
                    <a:pt x="135" y="152"/>
                    <a:pt x="133" y="148"/>
                    <a:pt x="129" y="146"/>
                  </a:cubicBezTo>
                  <a:cubicBezTo>
                    <a:pt x="121" y="147"/>
                    <a:pt x="116" y="151"/>
                    <a:pt x="109" y="154"/>
                  </a:cubicBezTo>
                  <a:cubicBezTo>
                    <a:pt x="109" y="162"/>
                    <a:pt x="112" y="167"/>
                    <a:pt x="113" y="173"/>
                  </a:cubicBezTo>
                  <a:cubicBezTo>
                    <a:pt x="107" y="168"/>
                    <a:pt x="104" y="162"/>
                    <a:pt x="100" y="155"/>
                  </a:cubicBezTo>
                  <a:cubicBezTo>
                    <a:pt x="79" y="161"/>
                    <a:pt x="59" y="167"/>
                    <a:pt x="46" y="181"/>
                  </a:cubicBezTo>
                  <a:cubicBezTo>
                    <a:pt x="44" y="195"/>
                    <a:pt x="32" y="199"/>
                    <a:pt x="25" y="208"/>
                  </a:cubicBezTo>
                  <a:cubicBezTo>
                    <a:pt x="12" y="206"/>
                    <a:pt x="0" y="197"/>
                    <a:pt x="2" y="191"/>
                  </a:cubicBezTo>
                  <a:cubicBezTo>
                    <a:pt x="5" y="183"/>
                    <a:pt x="20" y="170"/>
                    <a:pt x="21" y="159"/>
                  </a:cubicBezTo>
                  <a:cubicBezTo>
                    <a:pt x="23" y="159"/>
                    <a:pt x="24" y="158"/>
                    <a:pt x="25" y="156"/>
                  </a:cubicBezTo>
                  <a:cubicBezTo>
                    <a:pt x="34" y="158"/>
                    <a:pt x="39" y="158"/>
                    <a:pt x="46" y="162"/>
                  </a:cubicBezTo>
                  <a:cubicBezTo>
                    <a:pt x="65" y="159"/>
                    <a:pt x="82" y="153"/>
                    <a:pt x="100" y="148"/>
                  </a:cubicBezTo>
                  <a:cubicBezTo>
                    <a:pt x="101" y="113"/>
                    <a:pt x="84" y="87"/>
                    <a:pt x="65" y="67"/>
                  </a:cubicBezTo>
                  <a:cubicBezTo>
                    <a:pt x="59" y="64"/>
                    <a:pt x="54" y="59"/>
                    <a:pt x="50" y="54"/>
                  </a:cubicBezTo>
                  <a:cubicBezTo>
                    <a:pt x="87" y="59"/>
                    <a:pt x="100" y="111"/>
                    <a:pt x="106" y="144"/>
                  </a:cubicBezTo>
                  <a:cubicBezTo>
                    <a:pt x="111" y="146"/>
                    <a:pt x="119" y="140"/>
                    <a:pt x="125" y="138"/>
                  </a:cubicBezTo>
                  <a:cubicBezTo>
                    <a:pt x="127" y="107"/>
                    <a:pt x="116" y="48"/>
                    <a:pt x="92" y="36"/>
                  </a:cubicBezTo>
                  <a:cubicBezTo>
                    <a:pt x="126" y="40"/>
                    <a:pt x="128" y="88"/>
                    <a:pt x="137" y="122"/>
                  </a:cubicBezTo>
                  <a:cubicBezTo>
                    <a:pt x="146" y="115"/>
                    <a:pt x="146" y="106"/>
                    <a:pt x="152" y="98"/>
                  </a:cubicBezTo>
                  <a:cubicBezTo>
                    <a:pt x="148" y="92"/>
                    <a:pt x="143" y="86"/>
                    <a:pt x="137" y="82"/>
                  </a:cubicBezTo>
                  <a:cubicBezTo>
                    <a:pt x="142" y="80"/>
                    <a:pt x="149" y="91"/>
                    <a:pt x="154" y="88"/>
                  </a:cubicBezTo>
                  <a:cubicBezTo>
                    <a:pt x="157" y="78"/>
                    <a:pt x="162" y="69"/>
                    <a:pt x="161" y="57"/>
                  </a:cubicBezTo>
                  <a:cubicBezTo>
                    <a:pt x="157" y="54"/>
                    <a:pt x="156" y="61"/>
                    <a:pt x="150" y="60"/>
                  </a:cubicBezTo>
                  <a:cubicBezTo>
                    <a:pt x="141" y="54"/>
                    <a:pt x="134" y="47"/>
                    <a:pt x="132" y="35"/>
                  </a:cubicBezTo>
                  <a:cubicBezTo>
                    <a:pt x="138" y="29"/>
                    <a:pt x="143" y="15"/>
                    <a:pt x="136" y="7"/>
                  </a:cubicBezTo>
                  <a:cubicBezTo>
                    <a:pt x="148" y="10"/>
                    <a:pt x="157" y="16"/>
                    <a:pt x="162" y="26"/>
                  </a:cubicBezTo>
                  <a:cubicBezTo>
                    <a:pt x="172" y="30"/>
                    <a:pt x="189" y="34"/>
                    <a:pt x="195" y="41"/>
                  </a:cubicBezTo>
                  <a:cubicBezTo>
                    <a:pt x="207" y="53"/>
                    <a:pt x="195" y="59"/>
                    <a:pt x="188" y="72"/>
                  </a:cubicBezTo>
                  <a:cubicBezTo>
                    <a:pt x="184" y="80"/>
                    <a:pt x="183" y="89"/>
                    <a:pt x="176" y="93"/>
                  </a:cubicBezTo>
                  <a:cubicBezTo>
                    <a:pt x="175" y="97"/>
                    <a:pt x="177" y="99"/>
                    <a:pt x="176" y="105"/>
                  </a:cubicBezTo>
                  <a:cubicBezTo>
                    <a:pt x="167" y="109"/>
                    <a:pt x="166" y="122"/>
                    <a:pt x="157" y="127"/>
                  </a:cubicBezTo>
                  <a:cubicBezTo>
                    <a:pt x="164" y="131"/>
                    <a:pt x="169" y="124"/>
                    <a:pt x="175" y="122"/>
                  </a:cubicBezTo>
                  <a:cubicBezTo>
                    <a:pt x="186" y="118"/>
                    <a:pt x="200" y="117"/>
                    <a:pt x="210" y="113"/>
                  </a:cubicBezTo>
                  <a:cubicBezTo>
                    <a:pt x="213" y="112"/>
                    <a:pt x="219" y="110"/>
                    <a:pt x="219" y="105"/>
                  </a:cubicBezTo>
                  <a:cubicBezTo>
                    <a:pt x="220" y="100"/>
                    <a:pt x="214" y="100"/>
                    <a:pt x="212" y="98"/>
                  </a:cubicBezTo>
                  <a:cubicBezTo>
                    <a:pt x="208" y="91"/>
                    <a:pt x="204" y="83"/>
                    <a:pt x="200" y="75"/>
                  </a:cubicBezTo>
                  <a:cubicBezTo>
                    <a:pt x="207" y="83"/>
                    <a:pt x="213" y="78"/>
                    <a:pt x="224" y="80"/>
                  </a:cubicBezTo>
                  <a:cubicBezTo>
                    <a:pt x="227" y="78"/>
                    <a:pt x="225" y="70"/>
                    <a:pt x="228" y="67"/>
                  </a:cubicBezTo>
                  <a:cubicBezTo>
                    <a:pt x="219" y="60"/>
                    <a:pt x="207" y="48"/>
                    <a:pt x="212" y="36"/>
                  </a:cubicBezTo>
                  <a:cubicBezTo>
                    <a:pt x="214" y="38"/>
                    <a:pt x="216" y="40"/>
                    <a:pt x="219" y="42"/>
                  </a:cubicBezTo>
                  <a:cubicBezTo>
                    <a:pt x="219" y="44"/>
                    <a:pt x="216" y="40"/>
                    <a:pt x="213" y="42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44" name="ïsḻïdè"/>
            <p:cNvSpPr/>
            <p:nvPr userDrawn="1"/>
          </p:nvSpPr>
          <p:spPr bwMode="auto">
            <a:xfrm>
              <a:off x="5419725" y="2943225"/>
              <a:ext cx="452438" cy="520700"/>
            </a:xfrm>
            <a:custGeom>
              <a:avLst/>
              <a:gdLst>
                <a:gd name="T0" fmla="*/ 101 w 170"/>
                <a:gd name="T1" fmla="*/ 75 h 195"/>
                <a:gd name="T2" fmla="*/ 80 w 170"/>
                <a:gd name="T3" fmla="*/ 56 h 195"/>
                <a:gd name="T4" fmla="*/ 80 w 170"/>
                <a:gd name="T5" fmla="*/ 60 h 195"/>
                <a:gd name="T6" fmla="*/ 75 w 170"/>
                <a:gd name="T7" fmla="*/ 56 h 195"/>
                <a:gd name="T8" fmla="*/ 81 w 170"/>
                <a:gd name="T9" fmla="*/ 49 h 195"/>
                <a:gd name="T10" fmla="*/ 107 w 170"/>
                <a:gd name="T11" fmla="*/ 84 h 195"/>
                <a:gd name="T12" fmla="*/ 101 w 170"/>
                <a:gd name="T13" fmla="*/ 75 h 195"/>
                <a:gd name="T14" fmla="*/ 78 w 170"/>
                <a:gd name="T15" fmla="*/ 111 h 195"/>
                <a:gd name="T16" fmla="*/ 93 w 170"/>
                <a:gd name="T17" fmla="*/ 85 h 195"/>
                <a:gd name="T18" fmla="*/ 86 w 170"/>
                <a:gd name="T19" fmla="*/ 84 h 195"/>
                <a:gd name="T20" fmla="*/ 81 w 170"/>
                <a:gd name="T21" fmla="*/ 95 h 195"/>
                <a:gd name="T22" fmla="*/ 36 w 170"/>
                <a:gd name="T23" fmla="*/ 140 h 195"/>
                <a:gd name="T24" fmla="*/ 35 w 170"/>
                <a:gd name="T25" fmla="*/ 141 h 195"/>
                <a:gd name="T26" fmla="*/ 78 w 170"/>
                <a:gd name="T27" fmla="*/ 111 h 195"/>
                <a:gd name="T28" fmla="*/ 48 w 170"/>
                <a:gd name="T29" fmla="*/ 58 h 195"/>
                <a:gd name="T30" fmla="*/ 53 w 170"/>
                <a:gd name="T31" fmla="*/ 55 h 195"/>
                <a:gd name="T32" fmla="*/ 48 w 170"/>
                <a:gd name="T33" fmla="*/ 58 h 195"/>
                <a:gd name="T34" fmla="*/ 159 w 170"/>
                <a:gd name="T35" fmla="*/ 137 h 195"/>
                <a:gd name="T36" fmla="*/ 147 w 170"/>
                <a:gd name="T37" fmla="*/ 106 h 195"/>
                <a:gd name="T38" fmla="*/ 163 w 170"/>
                <a:gd name="T39" fmla="*/ 85 h 195"/>
                <a:gd name="T40" fmla="*/ 138 w 170"/>
                <a:gd name="T41" fmla="*/ 61 h 195"/>
                <a:gd name="T42" fmla="*/ 130 w 170"/>
                <a:gd name="T43" fmla="*/ 82 h 195"/>
                <a:gd name="T44" fmla="*/ 93 w 170"/>
                <a:gd name="T45" fmla="*/ 37 h 195"/>
                <a:gd name="T46" fmla="*/ 101 w 170"/>
                <a:gd name="T47" fmla="*/ 26 h 195"/>
                <a:gd name="T48" fmla="*/ 72 w 170"/>
                <a:gd name="T49" fmla="*/ 8 h 195"/>
                <a:gd name="T50" fmla="*/ 64 w 170"/>
                <a:gd name="T51" fmla="*/ 5 h 195"/>
                <a:gd name="T52" fmla="*/ 60 w 170"/>
                <a:gd name="T53" fmla="*/ 6 h 195"/>
                <a:gd name="T54" fmla="*/ 45 w 170"/>
                <a:gd name="T55" fmla="*/ 0 h 195"/>
                <a:gd name="T56" fmla="*/ 35 w 170"/>
                <a:gd name="T57" fmla="*/ 20 h 195"/>
                <a:gd name="T58" fmla="*/ 49 w 170"/>
                <a:gd name="T59" fmla="*/ 18 h 195"/>
                <a:gd name="T60" fmla="*/ 22 w 170"/>
                <a:gd name="T61" fmla="*/ 23 h 195"/>
                <a:gd name="T62" fmla="*/ 45 w 170"/>
                <a:gd name="T63" fmla="*/ 41 h 195"/>
                <a:gd name="T64" fmla="*/ 19 w 170"/>
                <a:gd name="T65" fmla="*/ 63 h 195"/>
                <a:gd name="T66" fmla="*/ 12 w 170"/>
                <a:gd name="T67" fmla="*/ 62 h 195"/>
                <a:gd name="T68" fmla="*/ 23 w 170"/>
                <a:gd name="T69" fmla="*/ 97 h 195"/>
                <a:gd name="T70" fmla="*/ 48 w 170"/>
                <a:gd name="T71" fmla="*/ 79 h 195"/>
                <a:gd name="T72" fmla="*/ 59 w 170"/>
                <a:gd name="T73" fmla="*/ 73 h 195"/>
                <a:gd name="T74" fmla="*/ 61 w 170"/>
                <a:gd name="T75" fmla="*/ 68 h 195"/>
                <a:gd name="T76" fmla="*/ 72 w 170"/>
                <a:gd name="T77" fmla="*/ 61 h 195"/>
                <a:gd name="T78" fmla="*/ 67 w 170"/>
                <a:gd name="T79" fmla="*/ 82 h 195"/>
                <a:gd name="T80" fmla="*/ 48 w 170"/>
                <a:gd name="T81" fmla="*/ 100 h 195"/>
                <a:gd name="T82" fmla="*/ 32 w 170"/>
                <a:gd name="T83" fmla="*/ 112 h 195"/>
                <a:gd name="T84" fmla="*/ 28 w 170"/>
                <a:gd name="T85" fmla="*/ 120 h 195"/>
                <a:gd name="T86" fmla="*/ 5 w 170"/>
                <a:gd name="T87" fmla="*/ 144 h 195"/>
                <a:gd name="T88" fmla="*/ 8 w 170"/>
                <a:gd name="T89" fmla="*/ 167 h 195"/>
                <a:gd name="T90" fmla="*/ 31 w 170"/>
                <a:gd name="T91" fmla="*/ 157 h 195"/>
                <a:gd name="T92" fmla="*/ 47 w 170"/>
                <a:gd name="T93" fmla="*/ 150 h 195"/>
                <a:gd name="T94" fmla="*/ 91 w 170"/>
                <a:gd name="T95" fmla="*/ 117 h 195"/>
                <a:gd name="T96" fmla="*/ 100 w 170"/>
                <a:gd name="T97" fmla="*/ 106 h 195"/>
                <a:gd name="T98" fmla="*/ 113 w 170"/>
                <a:gd name="T99" fmla="*/ 86 h 195"/>
                <a:gd name="T100" fmla="*/ 121 w 170"/>
                <a:gd name="T101" fmla="*/ 98 h 195"/>
                <a:gd name="T102" fmla="*/ 84 w 170"/>
                <a:gd name="T103" fmla="*/ 147 h 195"/>
                <a:gd name="T104" fmla="*/ 35 w 170"/>
                <a:gd name="T105" fmla="*/ 168 h 195"/>
                <a:gd name="T106" fmla="*/ 25 w 170"/>
                <a:gd name="T107" fmla="*/ 165 h 195"/>
                <a:gd name="T108" fmla="*/ 74 w 170"/>
                <a:gd name="T109" fmla="*/ 193 h 195"/>
                <a:gd name="T110" fmla="*/ 98 w 170"/>
                <a:gd name="T111" fmla="*/ 183 h 195"/>
                <a:gd name="T112" fmla="*/ 124 w 170"/>
                <a:gd name="T113" fmla="*/ 177 h 195"/>
                <a:gd name="T114" fmla="*/ 119 w 170"/>
                <a:gd name="T115" fmla="*/ 160 h 195"/>
                <a:gd name="T116" fmla="*/ 105 w 170"/>
                <a:gd name="T117" fmla="*/ 155 h 195"/>
                <a:gd name="T118" fmla="*/ 137 w 170"/>
                <a:gd name="T119" fmla="*/ 124 h 195"/>
                <a:gd name="T120" fmla="*/ 165 w 170"/>
                <a:gd name="T121" fmla="*/ 173 h 195"/>
                <a:gd name="T122" fmla="*/ 159 w 170"/>
                <a:gd name="T123" fmla="*/ 13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0" h="195">
                  <a:moveTo>
                    <a:pt x="101" y="75"/>
                  </a:moveTo>
                  <a:cubicBezTo>
                    <a:pt x="88" y="80"/>
                    <a:pt x="88" y="61"/>
                    <a:pt x="80" y="56"/>
                  </a:cubicBezTo>
                  <a:cubicBezTo>
                    <a:pt x="78" y="57"/>
                    <a:pt x="80" y="58"/>
                    <a:pt x="80" y="60"/>
                  </a:cubicBezTo>
                  <a:cubicBezTo>
                    <a:pt x="78" y="59"/>
                    <a:pt x="78" y="56"/>
                    <a:pt x="75" y="56"/>
                  </a:cubicBezTo>
                  <a:cubicBezTo>
                    <a:pt x="75" y="52"/>
                    <a:pt x="79" y="52"/>
                    <a:pt x="81" y="49"/>
                  </a:cubicBezTo>
                  <a:cubicBezTo>
                    <a:pt x="92" y="59"/>
                    <a:pt x="102" y="69"/>
                    <a:pt x="107" y="84"/>
                  </a:cubicBezTo>
                  <a:cubicBezTo>
                    <a:pt x="102" y="84"/>
                    <a:pt x="104" y="77"/>
                    <a:pt x="101" y="75"/>
                  </a:cubicBezTo>
                  <a:close/>
                  <a:moveTo>
                    <a:pt x="78" y="111"/>
                  </a:moveTo>
                  <a:cubicBezTo>
                    <a:pt x="82" y="102"/>
                    <a:pt x="91" y="96"/>
                    <a:pt x="93" y="85"/>
                  </a:cubicBezTo>
                  <a:cubicBezTo>
                    <a:pt x="89" y="86"/>
                    <a:pt x="90" y="83"/>
                    <a:pt x="86" y="84"/>
                  </a:cubicBezTo>
                  <a:cubicBezTo>
                    <a:pt x="85" y="88"/>
                    <a:pt x="81" y="90"/>
                    <a:pt x="81" y="95"/>
                  </a:cubicBezTo>
                  <a:cubicBezTo>
                    <a:pt x="66" y="109"/>
                    <a:pt x="47" y="125"/>
                    <a:pt x="36" y="140"/>
                  </a:cubicBezTo>
                  <a:cubicBezTo>
                    <a:pt x="35" y="140"/>
                    <a:pt x="34" y="140"/>
                    <a:pt x="35" y="141"/>
                  </a:cubicBezTo>
                  <a:cubicBezTo>
                    <a:pt x="50" y="132"/>
                    <a:pt x="61" y="119"/>
                    <a:pt x="78" y="111"/>
                  </a:cubicBezTo>
                  <a:close/>
                  <a:moveTo>
                    <a:pt x="48" y="58"/>
                  </a:moveTo>
                  <a:cubicBezTo>
                    <a:pt x="47" y="55"/>
                    <a:pt x="49" y="55"/>
                    <a:pt x="53" y="55"/>
                  </a:cubicBezTo>
                  <a:cubicBezTo>
                    <a:pt x="52" y="57"/>
                    <a:pt x="51" y="59"/>
                    <a:pt x="48" y="58"/>
                  </a:cubicBezTo>
                  <a:close/>
                  <a:moveTo>
                    <a:pt x="159" y="137"/>
                  </a:moveTo>
                  <a:cubicBezTo>
                    <a:pt x="154" y="125"/>
                    <a:pt x="148" y="117"/>
                    <a:pt x="147" y="106"/>
                  </a:cubicBezTo>
                  <a:cubicBezTo>
                    <a:pt x="149" y="96"/>
                    <a:pt x="162" y="94"/>
                    <a:pt x="163" y="85"/>
                  </a:cubicBezTo>
                  <a:cubicBezTo>
                    <a:pt x="165" y="71"/>
                    <a:pt x="151" y="65"/>
                    <a:pt x="138" y="61"/>
                  </a:cubicBezTo>
                  <a:cubicBezTo>
                    <a:pt x="137" y="70"/>
                    <a:pt x="135" y="77"/>
                    <a:pt x="130" y="82"/>
                  </a:cubicBezTo>
                  <a:cubicBezTo>
                    <a:pt x="115" y="70"/>
                    <a:pt x="102" y="56"/>
                    <a:pt x="93" y="37"/>
                  </a:cubicBezTo>
                  <a:cubicBezTo>
                    <a:pt x="94" y="31"/>
                    <a:pt x="101" y="32"/>
                    <a:pt x="101" y="26"/>
                  </a:cubicBezTo>
                  <a:cubicBezTo>
                    <a:pt x="103" y="6"/>
                    <a:pt x="87" y="10"/>
                    <a:pt x="72" y="8"/>
                  </a:cubicBezTo>
                  <a:cubicBezTo>
                    <a:pt x="70" y="8"/>
                    <a:pt x="66" y="5"/>
                    <a:pt x="64" y="5"/>
                  </a:cubicBezTo>
                  <a:cubicBezTo>
                    <a:pt x="62" y="5"/>
                    <a:pt x="62" y="7"/>
                    <a:pt x="60" y="6"/>
                  </a:cubicBezTo>
                  <a:cubicBezTo>
                    <a:pt x="54" y="4"/>
                    <a:pt x="49" y="0"/>
                    <a:pt x="45" y="0"/>
                  </a:cubicBezTo>
                  <a:cubicBezTo>
                    <a:pt x="42" y="7"/>
                    <a:pt x="24" y="10"/>
                    <a:pt x="35" y="20"/>
                  </a:cubicBezTo>
                  <a:cubicBezTo>
                    <a:pt x="39" y="18"/>
                    <a:pt x="45" y="17"/>
                    <a:pt x="49" y="18"/>
                  </a:cubicBezTo>
                  <a:cubicBezTo>
                    <a:pt x="43" y="27"/>
                    <a:pt x="29" y="22"/>
                    <a:pt x="22" y="23"/>
                  </a:cubicBezTo>
                  <a:cubicBezTo>
                    <a:pt x="31" y="27"/>
                    <a:pt x="39" y="33"/>
                    <a:pt x="45" y="41"/>
                  </a:cubicBezTo>
                  <a:cubicBezTo>
                    <a:pt x="38" y="50"/>
                    <a:pt x="27" y="55"/>
                    <a:pt x="19" y="63"/>
                  </a:cubicBezTo>
                  <a:cubicBezTo>
                    <a:pt x="16" y="64"/>
                    <a:pt x="16" y="61"/>
                    <a:pt x="12" y="62"/>
                  </a:cubicBezTo>
                  <a:cubicBezTo>
                    <a:pt x="6" y="74"/>
                    <a:pt x="11" y="96"/>
                    <a:pt x="23" y="97"/>
                  </a:cubicBezTo>
                  <a:cubicBezTo>
                    <a:pt x="28" y="97"/>
                    <a:pt x="44" y="82"/>
                    <a:pt x="48" y="79"/>
                  </a:cubicBezTo>
                  <a:cubicBezTo>
                    <a:pt x="51" y="76"/>
                    <a:pt x="55" y="74"/>
                    <a:pt x="59" y="73"/>
                  </a:cubicBezTo>
                  <a:cubicBezTo>
                    <a:pt x="60" y="72"/>
                    <a:pt x="59" y="68"/>
                    <a:pt x="61" y="68"/>
                  </a:cubicBezTo>
                  <a:cubicBezTo>
                    <a:pt x="67" y="68"/>
                    <a:pt x="67" y="58"/>
                    <a:pt x="72" y="61"/>
                  </a:cubicBezTo>
                  <a:cubicBezTo>
                    <a:pt x="73" y="73"/>
                    <a:pt x="69" y="74"/>
                    <a:pt x="67" y="82"/>
                  </a:cubicBezTo>
                  <a:cubicBezTo>
                    <a:pt x="57" y="86"/>
                    <a:pt x="55" y="93"/>
                    <a:pt x="48" y="100"/>
                  </a:cubicBezTo>
                  <a:cubicBezTo>
                    <a:pt x="43" y="104"/>
                    <a:pt x="36" y="108"/>
                    <a:pt x="32" y="112"/>
                  </a:cubicBezTo>
                  <a:cubicBezTo>
                    <a:pt x="31" y="114"/>
                    <a:pt x="30" y="118"/>
                    <a:pt x="28" y="120"/>
                  </a:cubicBezTo>
                  <a:cubicBezTo>
                    <a:pt x="21" y="129"/>
                    <a:pt x="9" y="138"/>
                    <a:pt x="5" y="144"/>
                  </a:cubicBezTo>
                  <a:cubicBezTo>
                    <a:pt x="0" y="151"/>
                    <a:pt x="0" y="165"/>
                    <a:pt x="8" y="167"/>
                  </a:cubicBezTo>
                  <a:cubicBezTo>
                    <a:pt x="17" y="165"/>
                    <a:pt x="21" y="159"/>
                    <a:pt x="31" y="157"/>
                  </a:cubicBezTo>
                  <a:cubicBezTo>
                    <a:pt x="34" y="150"/>
                    <a:pt x="42" y="152"/>
                    <a:pt x="47" y="150"/>
                  </a:cubicBezTo>
                  <a:cubicBezTo>
                    <a:pt x="63" y="143"/>
                    <a:pt x="80" y="126"/>
                    <a:pt x="91" y="117"/>
                  </a:cubicBezTo>
                  <a:cubicBezTo>
                    <a:pt x="95" y="113"/>
                    <a:pt x="97" y="111"/>
                    <a:pt x="100" y="106"/>
                  </a:cubicBezTo>
                  <a:cubicBezTo>
                    <a:pt x="105" y="99"/>
                    <a:pt x="110" y="92"/>
                    <a:pt x="113" y="86"/>
                  </a:cubicBezTo>
                  <a:cubicBezTo>
                    <a:pt x="117" y="89"/>
                    <a:pt x="119" y="93"/>
                    <a:pt x="121" y="98"/>
                  </a:cubicBezTo>
                  <a:cubicBezTo>
                    <a:pt x="111" y="117"/>
                    <a:pt x="96" y="130"/>
                    <a:pt x="84" y="147"/>
                  </a:cubicBezTo>
                  <a:cubicBezTo>
                    <a:pt x="69" y="155"/>
                    <a:pt x="56" y="173"/>
                    <a:pt x="35" y="168"/>
                  </a:cubicBezTo>
                  <a:cubicBezTo>
                    <a:pt x="31" y="168"/>
                    <a:pt x="28" y="163"/>
                    <a:pt x="25" y="165"/>
                  </a:cubicBezTo>
                  <a:cubicBezTo>
                    <a:pt x="39" y="181"/>
                    <a:pt x="52" y="195"/>
                    <a:pt x="74" y="193"/>
                  </a:cubicBezTo>
                  <a:cubicBezTo>
                    <a:pt x="85" y="193"/>
                    <a:pt x="92" y="186"/>
                    <a:pt x="98" y="183"/>
                  </a:cubicBezTo>
                  <a:cubicBezTo>
                    <a:pt x="106" y="178"/>
                    <a:pt x="118" y="185"/>
                    <a:pt x="124" y="177"/>
                  </a:cubicBezTo>
                  <a:cubicBezTo>
                    <a:pt x="121" y="173"/>
                    <a:pt x="123" y="163"/>
                    <a:pt x="119" y="160"/>
                  </a:cubicBezTo>
                  <a:cubicBezTo>
                    <a:pt x="116" y="157"/>
                    <a:pt x="105" y="161"/>
                    <a:pt x="105" y="155"/>
                  </a:cubicBezTo>
                  <a:cubicBezTo>
                    <a:pt x="118" y="147"/>
                    <a:pt x="125" y="133"/>
                    <a:pt x="137" y="124"/>
                  </a:cubicBezTo>
                  <a:cubicBezTo>
                    <a:pt x="148" y="138"/>
                    <a:pt x="146" y="166"/>
                    <a:pt x="165" y="173"/>
                  </a:cubicBezTo>
                  <a:cubicBezTo>
                    <a:pt x="170" y="161"/>
                    <a:pt x="165" y="152"/>
                    <a:pt x="159" y="137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45" name="iSľídè"/>
            <p:cNvSpPr/>
            <p:nvPr userDrawn="1"/>
          </p:nvSpPr>
          <p:spPr bwMode="auto">
            <a:xfrm>
              <a:off x="4521200" y="2730500"/>
              <a:ext cx="625475" cy="992188"/>
            </a:xfrm>
            <a:custGeom>
              <a:avLst/>
              <a:gdLst>
                <a:gd name="T0" fmla="*/ 108 w 235"/>
                <a:gd name="T1" fmla="*/ 104 h 372"/>
                <a:gd name="T2" fmla="*/ 104 w 235"/>
                <a:gd name="T3" fmla="*/ 136 h 372"/>
                <a:gd name="T4" fmla="*/ 119 w 235"/>
                <a:gd name="T5" fmla="*/ 122 h 372"/>
                <a:gd name="T6" fmla="*/ 130 w 235"/>
                <a:gd name="T7" fmla="*/ 99 h 372"/>
                <a:gd name="T8" fmla="*/ 108 w 235"/>
                <a:gd name="T9" fmla="*/ 104 h 372"/>
                <a:gd name="T10" fmla="*/ 58 w 235"/>
                <a:gd name="T11" fmla="*/ 0 h 372"/>
                <a:gd name="T12" fmla="*/ 101 w 235"/>
                <a:gd name="T13" fmla="*/ 17 h 372"/>
                <a:gd name="T14" fmla="*/ 107 w 235"/>
                <a:gd name="T15" fmla="*/ 30 h 372"/>
                <a:gd name="T16" fmla="*/ 108 w 235"/>
                <a:gd name="T17" fmla="*/ 81 h 372"/>
                <a:gd name="T18" fmla="*/ 153 w 235"/>
                <a:gd name="T19" fmla="*/ 70 h 372"/>
                <a:gd name="T20" fmla="*/ 159 w 235"/>
                <a:gd name="T21" fmla="*/ 62 h 372"/>
                <a:gd name="T22" fmla="*/ 220 w 235"/>
                <a:gd name="T23" fmla="*/ 101 h 372"/>
                <a:gd name="T24" fmla="*/ 154 w 235"/>
                <a:gd name="T25" fmla="*/ 147 h 372"/>
                <a:gd name="T26" fmla="*/ 165 w 235"/>
                <a:gd name="T27" fmla="*/ 168 h 372"/>
                <a:gd name="T28" fmla="*/ 109 w 235"/>
                <a:gd name="T29" fmla="*/ 192 h 372"/>
                <a:gd name="T30" fmla="*/ 101 w 235"/>
                <a:gd name="T31" fmla="*/ 242 h 372"/>
                <a:gd name="T32" fmla="*/ 102 w 235"/>
                <a:gd name="T33" fmla="*/ 257 h 372"/>
                <a:gd name="T34" fmla="*/ 99 w 235"/>
                <a:gd name="T35" fmla="*/ 267 h 372"/>
                <a:gd name="T36" fmla="*/ 99 w 235"/>
                <a:gd name="T37" fmla="*/ 297 h 372"/>
                <a:gd name="T38" fmla="*/ 96 w 235"/>
                <a:gd name="T39" fmla="*/ 308 h 372"/>
                <a:gd name="T40" fmla="*/ 94 w 235"/>
                <a:gd name="T41" fmla="*/ 332 h 372"/>
                <a:gd name="T42" fmla="*/ 92 w 235"/>
                <a:gd name="T43" fmla="*/ 352 h 372"/>
                <a:gd name="T44" fmla="*/ 88 w 235"/>
                <a:gd name="T45" fmla="*/ 359 h 372"/>
                <a:gd name="T46" fmla="*/ 84 w 235"/>
                <a:gd name="T47" fmla="*/ 372 h 372"/>
                <a:gd name="T48" fmla="*/ 77 w 235"/>
                <a:gd name="T49" fmla="*/ 334 h 372"/>
                <a:gd name="T50" fmla="*/ 74 w 235"/>
                <a:gd name="T51" fmla="*/ 319 h 372"/>
                <a:gd name="T52" fmla="*/ 74 w 235"/>
                <a:gd name="T53" fmla="*/ 210 h 372"/>
                <a:gd name="T54" fmla="*/ 61 w 235"/>
                <a:gd name="T55" fmla="*/ 166 h 372"/>
                <a:gd name="T56" fmla="*/ 71 w 235"/>
                <a:gd name="T57" fmla="*/ 165 h 372"/>
                <a:gd name="T58" fmla="*/ 72 w 235"/>
                <a:gd name="T59" fmla="*/ 112 h 372"/>
                <a:gd name="T60" fmla="*/ 34 w 235"/>
                <a:gd name="T61" fmla="*/ 123 h 372"/>
                <a:gd name="T62" fmla="*/ 0 w 235"/>
                <a:gd name="T63" fmla="*/ 113 h 372"/>
                <a:gd name="T64" fmla="*/ 34 w 235"/>
                <a:gd name="T65" fmla="*/ 101 h 372"/>
                <a:gd name="T66" fmla="*/ 59 w 235"/>
                <a:gd name="T67" fmla="*/ 94 h 372"/>
                <a:gd name="T68" fmla="*/ 73 w 235"/>
                <a:gd name="T69" fmla="*/ 86 h 372"/>
                <a:gd name="T70" fmla="*/ 74 w 235"/>
                <a:gd name="T71" fmla="*/ 62 h 372"/>
                <a:gd name="T72" fmla="*/ 67 w 235"/>
                <a:gd name="T73" fmla="*/ 29 h 372"/>
                <a:gd name="T74" fmla="*/ 67 w 235"/>
                <a:gd name="T75" fmla="*/ 14 h 372"/>
                <a:gd name="T76" fmla="*/ 58 w 235"/>
                <a:gd name="T77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5" h="372">
                  <a:moveTo>
                    <a:pt x="108" y="104"/>
                  </a:moveTo>
                  <a:cubicBezTo>
                    <a:pt x="104" y="113"/>
                    <a:pt x="102" y="128"/>
                    <a:pt x="104" y="136"/>
                  </a:cubicBezTo>
                  <a:cubicBezTo>
                    <a:pt x="113" y="135"/>
                    <a:pt x="110" y="123"/>
                    <a:pt x="119" y="122"/>
                  </a:cubicBezTo>
                  <a:cubicBezTo>
                    <a:pt x="120" y="112"/>
                    <a:pt x="128" y="110"/>
                    <a:pt x="130" y="99"/>
                  </a:cubicBezTo>
                  <a:cubicBezTo>
                    <a:pt x="121" y="99"/>
                    <a:pt x="115" y="102"/>
                    <a:pt x="108" y="104"/>
                  </a:cubicBezTo>
                  <a:close/>
                  <a:moveTo>
                    <a:pt x="58" y="0"/>
                  </a:moveTo>
                  <a:cubicBezTo>
                    <a:pt x="76" y="1"/>
                    <a:pt x="92" y="5"/>
                    <a:pt x="101" y="17"/>
                  </a:cubicBezTo>
                  <a:cubicBezTo>
                    <a:pt x="103" y="20"/>
                    <a:pt x="106" y="27"/>
                    <a:pt x="107" y="30"/>
                  </a:cubicBezTo>
                  <a:cubicBezTo>
                    <a:pt x="110" y="49"/>
                    <a:pt x="100" y="65"/>
                    <a:pt x="108" y="81"/>
                  </a:cubicBezTo>
                  <a:cubicBezTo>
                    <a:pt x="124" y="80"/>
                    <a:pt x="141" y="73"/>
                    <a:pt x="153" y="70"/>
                  </a:cubicBezTo>
                  <a:cubicBezTo>
                    <a:pt x="156" y="69"/>
                    <a:pt x="156" y="64"/>
                    <a:pt x="159" y="62"/>
                  </a:cubicBezTo>
                  <a:cubicBezTo>
                    <a:pt x="183" y="65"/>
                    <a:pt x="235" y="70"/>
                    <a:pt x="220" y="101"/>
                  </a:cubicBezTo>
                  <a:cubicBezTo>
                    <a:pt x="195" y="114"/>
                    <a:pt x="168" y="124"/>
                    <a:pt x="154" y="147"/>
                  </a:cubicBezTo>
                  <a:cubicBezTo>
                    <a:pt x="158" y="154"/>
                    <a:pt x="168" y="158"/>
                    <a:pt x="165" y="168"/>
                  </a:cubicBezTo>
                  <a:cubicBezTo>
                    <a:pt x="143" y="173"/>
                    <a:pt x="122" y="179"/>
                    <a:pt x="109" y="192"/>
                  </a:cubicBezTo>
                  <a:cubicBezTo>
                    <a:pt x="109" y="208"/>
                    <a:pt x="102" y="225"/>
                    <a:pt x="101" y="242"/>
                  </a:cubicBezTo>
                  <a:cubicBezTo>
                    <a:pt x="100" y="247"/>
                    <a:pt x="102" y="252"/>
                    <a:pt x="102" y="257"/>
                  </a:cubicBezTo>
                  <a:cubicBezTo>
                    <a:pt x="102" y="260"/>
                    <a:pt x="100" y="264"/>
                    <a:pt x="99" y="267"/>
                  </a:cubicBezTo>
                  <a:cubicBezTo>
                    <a:pt x="99" y="277"/>
                    <a:pt x="101" y="288"/>
                    <a:pt x="99" y="297"/>
                  </a:cubicBezTo>
                  <a:cubicBezTo>
                    <a:pt x="99" y="301"/>
                    <a:pt x="96" y="304"/>
                    <a:pt x="96" y="308"/>
                  </a:cubicBezTo>
                  <a:cubicBezTo>
                    <a:pt x="95" y="316"/>
                    <a:pt x="95" y="325"/>
                    <a:pt x="94" y="332"/>
                  </a:cubicBezTo>
                  <a:cubicBezTo>
                    <a:pt x="92" y="339"/>
                    <a:pt x="94" y="347"/>
                    <a:pt x="92" y="352"/>
                  </a:cubicBezTo>
                  <a:cubicBezTo>
                    <a:pt x="91" y="355"/>
                    <a:pt x="89" y="357"/>
                    <a:pt x="88" y="359"/>
                  </a:cubicBezTo>
                  <a:cubicBezTo>
                    <a:pt x="86" y="363"/>
                    <a:pt x="89" y="370"/>
                    <a:pt x="84" y="372"/>
                  </a:cubicBezTo>
                  <a:cubicBezTo>
                    <a:pt x="73" y="365"/>
                    <a:pt x="78" y="348"/>
                    <a:pt x="77" y="334"/>
                  </a:cubicBezTo>
                  <a:cubicBezTo>
                    <a:pt x="76" y="329"/>
                    <a:pt x="75" y="324"/>
                    <a:pt x="74" y="319"/>
                  </a:cubicBezTo>
                  <a:cubicBezTo>
                    <a:pt x="72" y="282"/>
                    <a:pt x="79" y="236"/>
                    <a:pt x="74" y="210"/>
                  </a:cubicBezTo>
                  <a:cubicBezTo>
                    <a:pt x="72" y="196"/>
                    <a:pt x="48" y="186"/>
                    <a:pt x="61" y="166"/>
                  </a:cubicBezTo>
                  <a:cubicBezTo>
                    <a:pt x="63" y="164"/>
                    <a:pt x="67" y="165"/>
                    <a:pt x="71" y="165"/>
                  </a:cubicBezTo>
                  <a:cubicBezTo>
                    <a:pt x="75" y="152"/>
                    <a:pt x="76" y="125"/>
                    <a:pt x="72" y="112"/>
                  </a:cubicBezTo>
                  <a:cubicBezTo>
                    <a:pt x="61" y="114"/>
                    <a:pt x="50" y="123"/>
                    <a:pt x="34" y="123"/>
                  </a:cubicBezTo>
                  <a:cubicBezTo>
                    <a:pt x="22" y="123"/>
                    <a:pt x="6" y="121"/>
                    <a:pt x="0" y="113"/>
                  </a:cubicBezTo>
                  <a:cubicBezTo>
                    <a:pt x="13" y="109"/>
                    <a:pt x="23" y="105"/>
                    <a:pt x="34" y="101"/>
                  </a:cubicBezTo>
                  <a:cubicBezTo>
                    <a:pt x="42" y="99"/>
                    <a:pt x="50" y="97"/>
                    <a:pt x="59" y="94"/>
                  </a:cubicBezTo>
                  <a:cubicBezTo>
                    <a:pt x="65" y="92"/>
                    <a:pt x="70" y="92"/>
                    <a:pt x="73" y="86"/>
                  </a:cubicBezTo>
                  <a:cubicBezTo>
                    <a:pt x="75" y="81"/>
                    <a:pt x="75" y="70"/>
                    <a:pt x="74" y="62"/>
                  </a:cubicBezTo>
                  <a:cubicBezTo>
                    <a:pt x="74" y="50"/>
                    <a:pt x="69" y="39"/>
                    <a:pt x="67" y="29"/>
                  </a:cubicBezTo>
                  <a:cubicBezTo>
                    <a:pt x="66" y="23"/>
                    <a:pt x="68" y="18"/>
                    <a:pt x="67" y="14"/>
                  </a:cubicBezTo>
                  <a:cubicBezTo>
                    <a:pt x="65" y="8"/>
                    <a:pt x="59" y="8"/>
                    <a:pt x="58" y="0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46" name="íSḻídé"/>
            <p:cNvSpPr/>
            <p:nvPr userDrawn="1"/>
          </p:nvSpPr>
          <p:spPr bwMode="auto">
            <a:xfrm>
              <a:off x="5478463" y="2781300"/>
              <a:ext cx="555625" cy="874713"/>
            </a:xfrm>
            <a:custGeom>
              <a:avLst/>
              <a:gdLst>
                <a:gd name="T0" fmla="*/ 196 w 209"/>
                <a:gd name="T1" fmla="*/ 315 h 328"/>
                <a:gd name="T2" fmla="*/ 137 w 209"/>
                <a:gd name="T3" fmla="*/ 286 h 328"/>
                <a:gd name="T4" fmla="*/ 121 w 209"/>
                <a:gd name="T5" fmla="*/ 269 h 328"/>
                <a:gd name="T6" fmla="*/ 126 w 209"/>
                <a:gd name="T7" fmla="*/ 267 h 328"/>
                <a:gd name="T8" fmla="*/ 121 w 209"/>
                <a:gd name="T9" fmla="*/ 257 h 328"/>
                <a:gd name="T10" fmla="*/ 134 w 209"/>
                <a:gd name="T11" fmla="*/ 261 h 328"/>
                <a:gd name="T12" fmla="*/ 140 w 209"/>
                <a:gd name="T13" fmla="*/ 267 h 328"/>
                <a:gd name="T14" fmla="*/ 163 w 209"/>
                <a:gd name="T15" fmla="*/ 277 h 328"/>
                <a:gd name="T16" fmla="*/ 175 w 209"/>
                <a:gd name="T17" fmla="*/ 251 h 328"/>
                <a:gd name="T18" fmla="*/ 163 w 209"/>
                <a:gd name="T19" fmla="*/ 99 h 328"/>
                <a:gd name="T20" fmla="*/ 155 w 209"/>
                <a:gd name="T21" fmla="*/ 55 h 328"/>
                <a:gd name="T22" fmla="*/ 138 w 209"/>
                <a:gd name="T23" fmla="*/ 12 h 328"/>
                <a:gd name="T24" fmla="*/ 90 w 209"/>
                <a:gd name="T25" fmla="*/ 22 h 328"/>
                <a:gd name="T26" fmla="*/ 72 w 209"/>
                <a:gd name="T27" fmla="*/ 26 h 328"/>
                <a:gd name="T28" fmla="*/ 46 w 209"/>
                <a:gd name="T29" fmla="*/ 42 h 328"/>
                <a:gd name="T30" fmla="*/ 0 w 209"/>
                <a:gd name="T31" fmla="*/ 56 h 328"/>
                <a:gd name="T32" fmla="*/ 27 w 209"/>
                <a:gd name="T33" fmla="*/ 38 h 328"/>
                <a:gd name="T34" fmla="*/ 89 w 209"/>
                <a:gd name="T35" fmla="*/ 13 h 328"/>
                <a:gd name="T36" fmla="*/ 124 w 209"/>
                <a:gd name="T37" fmla="*/ 4 h 328"/>
                <a:gd name="T38" fmla="*/ 190 w 209"/>
                <a:gd name="T39" fmla="*/ 24 h 328"/>
                <a:gd name="T40" fmla="*/ 201 w 209"/>
                <a:gd name="T41" fmla="*/ 47 h 328"/>
                <a:gd name="T42" fmla="*/ 192 w 209"/>
                <a:gd name="T43" fmla="*/ 65 h 328"/>
                <a:gd name="T44" fmla="*/ 194 w 209"/>
                <a:gd name="T45" fmla="*/ 109 h 328"/>
                <a:gd name="T46" fmla="*/ 194 w 209"/>
                <a:gd name="T47" fmla="*/ 131 h 328"/>
                <a:gd name="T48" fmla="*/ 198 w 209"/>
                <a:gd name="T49" fmla="*/ 153 h 328"/>
                <a:gd name="T50" fmla="*/ 200 w 209"/>
                <a:gd name="T51" fmla="*/ 198 h 328"/>
                <a:gd name="T52" fmla="*/ 202 w 209"/>
                <a:gd name="T53" fmla="*/ 221 h 328"/>
                <a:gd name="T54" fmla="*/ 204 w 209"/>
                <a:gd name="T55" fmla="*/ 236 h 328"/>
                <a:gd name="T56" fmla="*/ 206 w 209"/>
                <a:gd name="T57" fmla="*/ 245 h 328"/>
                <a:gd name="T58" fmla="*/ 196 w 209"/>
                <a:gd name="T59" fmla="*/ 315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9" h="328">
                  <a:moveTo>
                    <a:pt x="196" y="315"/>
                  </a:moveTo>
                  <a:cubicBezTo>
                    <a:pt x="168" y="328"/>
                    <a:pt x="152" y="301"/>
                    <a:pt x="137" y="286"/>
                  </a:cubicBezTo>
                  <a:cubicBezTo>
                    <a:pt x="130" y="280"/>
                    <a:pt x="122" y="276"/>
                    <a:pt x="121" y="269"/>
                  </a:cubicBezTo>
                  <a:cubicBezTo>
                    <a:pt x="120" y="264"/>
                    <a:pt x="125" y="267"/>
                    <a:pt x="126" y="267"/>
                  </a:cubicBezTo>
                  <a:cubicBezTo>
                    <a:pt x="130" y="263"/>
                    <a:pt x="120" y="263"/>
                    <a:pt x="121" y="257"/>
                  </a:cubicBezTo>
                  <a:cubicBezTo>
                    <a:pt x="124" y="263"/>
                    <a:pt x="132" y="260"/>
                    <a:pt x="134" y="261"/>
                  </a:cubicBezTo>
                  <a:cubicBezTo>
                    <a:pt x="136" y="262"/>
                    <a:pt x="138" y="266"/>
                    <a:pt x="140" y="267"/>
                  </a:cubicBezTo>
                  <a:cubicBezTo>
                    <a:pt x="147" y="271"/>
                    <a:pt x="154" y="273"/>
                    <a:pt x="163" y="277"/>
                  </a:cubicBezTo>
                  <a:cubicBezTo>
                    <a:pt x="173" y="272"/>
                    <a:pt x="170" y="259"/>
                    <a:pt x="175" y="251"/>
                  </a:cubicBezTo>
                  <a:cubicBezTo>
                    <a:pt x="172" y="204"/>
                    <a:pt x="168" y="155"/>
                    <a:pt x="163" y="99"/>
                  </a:cubicBezTo>
                  <a:cubicBezTo>
                    <a:pt x="162" y="85"/>
                    <a:pt x="159" y="71"/>
                    <a:pt x="155" y="55"/>
                  </a:cubicBezTo>
                  <a:cubicBezTo>
                    <a:pt x="150" y="39"/>
                    <a:pt x="147" y="18"/>
                    <a:pt x="138" y="12"/>
                  </a:cubicBezTo>
                  <a:cubicBezTo>
                    <a:pt x="119" y="11"/>
                    <a:pt x="104" y="17"/>
                    <a:pt x="90" y="22"/>
                  </a:cubicBezTo>
                  <a:cubicBezTo>
                    <a:pt x="84" y="23"/>
                    <a:pt x="78" y="24"/>
                    <a:pt x="72" y="26"/>
                  </a:cubicBezTo>
                  <a:cubicBezTo>
                    <a:pt x="63" y="31"/>
                    <a:pt x="55" y="37"/>
                    <a:pt x="46" y="42"/>
                  </a:cubicBezTo>
                  <a:cubicBezTo>
                    <a:pt x="32" y="50"/>
                    <a:pt x="17" y="57"/>
                    <a:pt x="0" y="56"/>
                  </a:cubicBezTo>
                  <a:cubicBezTo>
                    <a:pt x="6" y="48"/>
                    <a:pt x="16" y="43"/>
                    <a:pt x="27" y="38"/>
                  </a:cubicBezTo>
                  <a:cubicBezTo>
                    <a:pt x="47" y="29"/>
                    <a:pt x="67" y="21"/>
                    <a:pt x="89" y="13"/>
                  </a:cubicBezTo>
                  <a:cubicBezTo>
                    <a:pt x="100" y="10"/>
                    <a:pt x="114" y="5"/>
                    <a:pt x="124" y="4"/>
                  </a:cubicBezTo>
                  <a:cubicBezTo>
                    <a:pt x="155" y="0"/>
                    <a:pt x="169" y="15"/>
                    <a:pt x="190" y="24"/>
                  </a:cubicBezTo>
                  <a:cubicBezTo>
                    <a:pt x="194" y="32"/>
                    <a:pt x="202" y="37"/>
                    <a:pt x="201" y="47"/>
                  </a:cubicBezTo>
                  <a:cubicBezTo>
                    <a:pt x="201" y="54"/>
                    <a:pt x="193" y="59"/>
                    <a:pt x="192" y="65"/>
                  </a:cubicBezTo>
                  <a:cubicBezTo>
                    <a:pt x="189" y="76"/>
                    <a:pt x="193" y="95"/>
                    <a:pt x="194" y="109"/>
                  </a:cubicBezTo>
                  <a:cubicBezTo>
                    <a:pt x="194" y="116"/>
                    <a:pt x="193" y="123"/>
                    <a:pt x="194" y="131"/>
                  </a:cubicBezTo>
                  <a:cubicBezTo>
                    <a:pt x="195" y="138"/>
                    <a:pt x="197" y="146"/>
                    <a:pt x="198" y="153"/>
                  </a:cubicBezTo>
                  <a:cubicBezTo>
                    <a:pt x="198" y="170"/>
                    <a:pt x="197" y="184"/>
                    <a:pt x="200" y="198"/>
                  </a:cubicBezTo>
                  <a:cubicBezTo>
                    <a:pt x="201" y="206"/>
                    <a:pt x="201" y="214"/>
                    <a:pt x="202" y="221"/>
                  </a:cubicBezTo>
                  <a:cubicBezTo>
                    <a:pt x="203" y="226"/>
                    <a:pt x="203" y="229"/>
                    <a:pt x="204" y="236"/>
                  </a:cubicBezTo>
                  <a:cubicBezTo>
                    <a:pt x="204" y="239"/>
                    <a:pt x="206" y="242"/>
                    <a:pt x="206" y="245"/>
                  </a:cubicBezTo>
                  <a:cubicBezTo>
                    <a:pt x="209" y="272"/>
                    <a:pt x="200" y="292"/>
                    <a:pt x="196" y="315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47" name="ïslidê"/>
            <p:cNvSpPr/>
            <p:nvPr userDrawn="1"/>
          </p:nvSpPr>
          <p:spPr bwMode="auto">
            <a:xfrm>
              <a:off x="6584950" y="3217863"/>
              <a:ext cx="471488" cy="341313"/>
            </a:xfrm>
            <a:custGeom>
              <a:avLst/>
              <a:gdLst>
                <a:gd name="T0" fmla="*/ 123 w 177"/>
                <a:gd name="T1" fmla="*/ 0 h 128"/>
                <a:gd name="T2" fmla="*/ 175 w 177"/>
                <a:gd name="T3" fmla="*/ 43 h 128"/>
                <a:gd name="T4" fmla="*/ 150 w 177"/>
                <a:gd name="T5" fmla="*/ 60 h 128"/>
                <a:gd name="T6" fmla="*/ 142 w 177"/>
                <a:gd name="T7" fmla="*/ 69 h 128"/>
                <a:gd name="T8" fmla="*/ 135 w 177"/>
                <a:gd name="T9" fmla="*/ 91 h 128"/>
                <a:gd name="T10" fmla="*/ 138 w 177"/>
                <a:gd name="T11" fmla="*/ 102 h 128"/>
                <a:gd name="T12" fmla="*/ 128 w 177"/>
                <a:gd name="T13" fmla="*/ 115 h 128"/>
                <a:gd name="T14" fmla="*/ 96 w 177"/>
                <a:gd name="T15" fmla="*/ 128 h 128"/>
                <a:gd name="T16" fmla="*/ 63 w 177"/>
                <a:gd name="T17" fmla="*/ 109 h 128"/>
                <a:gd name="T18" fmla="*/ 49 w 177"/>
                <a:gd name="T19" fmla="*/ 89 h 128"/>
                <a:gd name="T20" fmla="*/ 34 w 177"/>
                <a:gd name="T21" fmla="*/ 70 h 128"/>
                <a:gd name="T22" fmla="*/ 12 w 177"/>
                <a:gd name="T23" fmla="*/ 58 h 128"/>
                <a:gd name="T24" fmla="*/ 0 w 177"/>
                <a:gd name="T25" fmla="*/ 40 h 128"/>
                <a:gd name="T26" fmla="*/ 39 w 177"/>
                <a:gd name="T27" fmla="*/ 51 h 128"/>
                <a:gd name="T28" fmla="*/ 71 w 177"/>
                <a:gd name="T29" fmla="*/ 97 h 128"/>
                <a:gd name="T30" fmla="*/ 76 w 177"/>
                <a:gd name="T31" fmla="*/ 78 h 128"/>
                <a:gd name="T32" fmla="*/ 83 w 177"/>
                <a:gd name="T33" fmla="*/ 77 h 128"/>
                <a:gd name="T34" fmla="*/ 105 w 177"/>
                <a:gd name="T35" fmla="*/ 43 h 128"/>
                <a:gd name="T36" fmla="*/ 75 w 177"/>
                <a:gd name="T37" fmla="*/ 21 h 128"/>
                <a:gd name="T38" fmla="*/ 123 w 177"/>
                <a:gd name="T39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7" h="128">
                  <a:moveTo>
                    <a:pt x="123" y="0"/>
                  </a:moveTo>
                  <a:cubicBezTo>
                    <a:pt x="146" y="6"/>
                    <a:pt x="177" y="4"/>
                    <a:pt x="175" y="43"/>
                  </a:cubicBezTo>
                  <a:cubicBezTo>
                    <a:pt x="166" y="47"/>
                    <a:pt x="158" y="52"/>
                    <a:pt x="150" y="60"/>
                  </a:cubicBezTo>
                  <a:cubicBezTo>
                    <a:pt x="148" y="63"/>
                    <a:pt x="144" y="65"/>
                    <a:pt x="142" y="69"/>
                  </a:cubicBezTo>
                  <a:cubicBezTo>
                    <a:pt x="140" y="71"/>
                    <a:pt x="134" y="87"/>
                    <a:pt x="135" y="91"/>
                  </a:cubicBezTo>
                  <a:cubicBezTo>
                    <a:pt x="135" y="95"/>
                    <a:pt x="139" y="99"/>
                    <a:pt x="138" y="102"/>
                  </a:cubicBezTo>
                  <a:cubicBezTo>
                    <a:pt x="137" y="108"/>
                    <a:pt x="131" y="112"/>
                    <a:pt x="128" y="115"/>
                  </a:cubicBezTo>
                  <a:cubicBezTo>
                    <a:pt x="114" y="112"/>
                    <a:pt x="102" y="119"/>
                    <a:pt x="96" y="128"/>
                  </a:cubicBezTo>
                  <a:cubicBezTo>
                    <a:pt x="80" y="127"/>
                    <a:pt x="79" y="111"/>
                    <a:pt x="63" y="109"/>
                  </a:cubicBezTo>
                  <a:cubicBezTo>
                    <a:pt x="58" y="102"/>
                    <a:pt x="54" y="96"/>
                    <a:pt x="49" y="89"/>
                  </a:cubicBezTo>
                  <a:cubicBezTo>
                    <a:pt x="44" y="83"/>
                    <a:pt x="40" y="75"/>
                    <a:pt x="34" y="70"/>
                  </a:cubicBezTo>
                  <a:cubicBezTo>
                    <a:pt x="28" y="65"/>
                    <a:pt x="18" y="63"/>
                    <a:pt x="12" y="58"/>
                  </a:cubicBezTo>
                  <a:cubicBezTo>
                    <a:pt x="6" y="54"/>
                    <a:pt x="3" y="47"/>
                    <a:pt x="0" y="40"/>
                  </a:cubicBezTo>
                  <a:cubicBezTo>
                    <a:pt x="15" y="42"/>
                    <a:pt x="29" y="45"/>
                    <a:pt x="39" y="51"/>
                  </a:cubicBezTo>
                  <a:cubicBezTo>
                    <a:pt x="47" y="69"/>
                    <a:pt x="57" y="86"/>
                    <a:pt x="71" y="97"/>
                  </a:cubicBezTo>
                  <a:cubicBezTo>
                    <a:pt x="76" y="94"/>
                    <a:pt x="71" y="83"/>
                    <a:pt x="76" y="78"/>
                  </a:cubicBezTo>
                  <a:cubicBezTo>
                    <a:pt x="79" y="76"/>
                    <a:pt x="79" y="77"/>
                    <a:pt x="83" y="77"/>
                  </a:cubicBezTo>
                  <a:cubicBezTo>
                    <a:pt x="94" y="69"/>
                    <a:pt x="101" y="57"/>
                    <a:pt x="105" y="43"/>
                  </a:cubicBezTo>
                  <a:cubicBezTo>
                    <a:pt x="99" y="31"/>
                    <a:pt x="83" y="30"/>
                    <a:pt x="75" y="21"/>
                  </a:cubicBezTo>
                  <a:cubicBezTo>
                    <a:pt x="90" y="20"/>
                    <a:pt x="117" y="18"/>
                    <a:pt x="123" y="0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48" name="işḷîḋe"/>
            <p:cNvSpPr/>
            <p:nvPr userDrawn="1"/>
          </p:nvSpPr>
          <p:spPr bwMode="auto">
            <a:xfrm>
              <a:off x="4383088" y="3914775"/>
              <a:ext cx="177800" cy="219075"/>
            </a:xfrm>
            <a:custGeom>
              <a:avLst/>
              <a:gdLst>
                <a:gd name="T0" fmla="*/ 41 w 67"/>
                <a:gd name="T1" fmla="*/ 76 h 82"/>
                <a:gd name="T2" fmla="*/ 15 w 67"/>
                <a:gd name="T3" fmla="*/ 40 h 82"/>
                <a:gd name="T4" fmla="*/ 40 w 67"/>
                <a:gd name="T5" fmla="*/ 7 h 82"/>
                <a:gd name="T6" fmla="*/ 60 w 67"/>
                <a:gd name="T7" fmla="*/ 26 h 82"/>
                <a:gd name="T8" fmla="*/ 64 w 67"/>
                <a:gd name="T9" fmla="*/ 26 h 82"/>
                <a:gd name="T10" fmla="*/ 63 w 67"/>
                <a:gd name="T11" fmla="*/ 4 h 82"/>
                <a:gd name="T12" fmla="*/ 61 w 67"/>
                <a:gd name="T13" fmla="*/ 4 h 82"/>
                <a:gd name="T14" fmla="*/ 59 w 67"/>
                <a:gd name="T15" fmla="*/ 5 h 82"/>
                <a:gd name="T16" fmla="*/ 55 w 67"/>
                <a:gd name="T17" fmla="*/ 4 h 82"/>
                <a:gd name="T18" fmla="*/ 39 w 67"/>
                <a:gd name="T19" fmla="*/ 0 h 82"/>
                <a:gd name="T20" fmla="*/ 0 w 67"/>
                <a:gd name="T21" fmla="*/ 42 h 82"/>
                <a:gd name="T22" fmla="*/ 37 w 67"/>
                <a:gd name="T23" fmla="*/ 82 h 82"/>
                <a:gd name="T24" fmla="*/ 48 w 67"/>
                <a:gd name="T25" fmla="*/ 81 h 82"/>
                <a:gd name="T26" fmla="*/ 55 w 67"/>
                <a:gd name="T27" fmla="*/ 80 h 82"/>
                <a:gd name="T28" fmla="*/ 61 w 67"/>
                <a:gd name="T29" fmla="*/ 81 h 82"/>
                <a:gd name="T30" fmla="*/ 67 w 67"/>
                <a:gd name="T31" fmla="*/ 58 h 82"/>
                <a:gd name="T32" fmla="*/ 62 w 67"/>
                <a:gd name="T33" fmla="*/ 58 h 82"/>
                <a:gd name="T34" fmla="*/ 41 w 67"/>
                <a:gd name="T35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" h="82">
                  <a:moveTo>
                    <a:pt x="41" y="76"/>
                  </a:moveTo>
                  <a:cubicBezTo>
                    <a:pt x="25" y="74"/>
                    <a:pt x="17" y="62"/>
                    <a:pt x="15" y="40"/>
                  </a:cubicBezTo>
                  <a:cubicBezTo>
                    <a:pt x="16" y="19"/>
                    <a:pt x="25" y="8"/>
                    <a:pt x="40" y="7"/>
                  </a:cubicBezTo>
                  <a:cubicBezTo>
                    <a:pt x="50" y="7"/>
                    <a:pt x="57" y="14"/>
                    <a:pt x="60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0" y="5"/>
                    <a:pt x="59" y="5"/>
                    <a:pt x="59" y="5"/>
                  </a:cubicBezTo>
                  <a:cubicBezTo>
                    <a:pt x="58" y="5"/>
                    <a:pt x="57" y="5"/>
                    <a:pt x="55" y="4"/>
                  </a:cubicBezTo>
                  <a:cubicBezTo>
                    <a:pt x="50" y="2"/>
                    <a:pt x="44" y="0"/>
                    <a:pt x="39" y="0"/>
                  </a:cubicBezTo>
                  <a:cubicBezTo>
                    <a:pt x="15" y="3"/>
                    <a:pt x="2" y="16"/>
                    <a:pt x="0" y="42"/>
                  </a:cubicBezTo>
                  <a:cubicBezTo>
                    <a:pt x="2" y="66"/>
                    <a:pt x="14" y="80"/>
                    <a:pt x="37" y="82"/>
                  </a:cubicBezTo>
                  <a:cubicBezTo>
                    <a:pt x="40" y="82"/>
                    <a:pt x="44" y="81"/>
                    <a:pt x="48" y="81"/>
                  </a:cubicBezTo>
                  <a:cubicBezTo>
                    <a:pt x="51" y="80"/>
                    <a:pt x="53" y="80"/>
                    <a:pt x="55" y="80"/>
                  </a:cubicBezTo>
                  <a:cubicBezTo>
                    <a:pt x="57" y="80"/>
                    <a:pt x="59" y="80"/>
                    <a:pt x="61" y="81"/>
                  </a:cubicBezTo>
                  <a:cubicBezTo>
                    <a:pt x="63" y="74"/>
                    <a:pt x="65" y="66"/>
                    <a:pt x="67" y="58"/>
                  </a:cubicBezTo>
                  <a:cubicBezTo>
                    <a:pt x="62" y="58"/>
                    <a:pt x="62" y="58"/>
                    <a:pt x="62" y="58"/>
                  </a:cubicBezTo>
                  <a:cubicBezTo>
                    <a:pt x="58" y="70"/>
                    <a:pt x="51" y="76"/>
                    <a:pt x="41" y="76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49" name="îṣḻïďê"/>
            <p:cNvSpPr/>
            <p:nvPr userDrawn="1"/>
          </p:nvSpPr>
          <p:spPr bwMode="auto">
            <a:xfrm>
              <a:off x="4592638" y="3919538"/>
              <a:ext cx="215900" cy="211138"/>
            </a:xfrm>
            <a:custGeom>
              <a:avLst/>
              <a:gdLst>
                <a:gd name="T0" fmla="*/ 48 w 81"/>
                <a:gd name="T1" fmla="*/ 5 h 79"/>
                <a:gd name="T2" fmla="*/ 49 w 81"/>
                <a:gd name="T3" fmla="*/ 5 h 79"/>
                <a:gd name="T4" fmla="*/ 57 w 81"/>
                <a:gd name="T5" fmla="*/ 15 h 79"/>
                <a:gd name="T6" fmla="*/ 57 w 81"/>
                <a:gd name="T7" fmla="*/ 34 h 79"/>
                <a:gd name="T8" fmla="*/ 23 w 81"/>
                <a:gd name="T9" fmla="*/ 34 h 79"/>
                <a:gd name="T10" fmla="*/ 23 w 81"/>
                <a:gd name="T11" fmla="*/ 14 h 79"/>
                <a:gd name="T12" fmla="*/ 31 w 81"/>
                <a:gd name="T13" fmla="*/ 5 h 79"/>
                <a:gd name="T14" fmla="*/ 33 w 81"/>
                <a:gd name="T15" fmla="*/ 5 h 79"/>
                <a:gd name="T16" fmla="*/ 33 w 81"/>
                <a:gd name="T17" fmla="*/ 0 h 79"/>
                <a:gd name="T18" fmla="*/ 0 w 81"/>
                <a:gd name="T19" fmla="*/ 0 h 79"/>
                <a:gd name="T20" fmla="*/ 0 w 81"/>
                <a:gd name="T21" fmla="*/ 5 h 79"/>
                <a:gd name="T22" fmla="*/ 2 w 81"/>
                <a:gd name="T23" fmla="*/ 5 h 79"/>
                <a:gd name="T24" fmla="*/ 9 w 81"/>
                <a:gd name="T25" fmla="*/ 14 h 79"/>
                <a:gd name="T26" fmla="*/ 9 w 81"/>
                <a:gd name="T27" fmla="*/ 64 h 79"/>
                <a:gd name="T28" fmla="*/ 2 w 81"/>
                <a:gd name="T29" fmla="*/ 74 h 79"/>
                <a:gd name="T30" fmla="*/ 0 w 81"/>
                <a:gd name="T31" fmla="*/ 74 h 79"/>
                <a:gd name="T32" fmla="*/ 0 w 81"/>
                <a:gd name="T33" fmla="*/ 79 h 79"/>
                <a:gd name="T34" fmla="*/ 33 w 81"/>
                <a:gd name="T35" fmla="*/ 79 h 79"/>
                <a:gd name="T36" fmla="*/ 33 w 81"/>
                <a:gd name="T37" fmla="*/ 74 h 79"/>
                <a:gd name="T38" fmla="*/ 31 w 81"/>
                <a:gd name="T39" fmla="*/ 74 h 79"/>
                <a:gd name="T40" fmla="*/ 23 w 81"/>
                <a:gd name="T41" fmla="*/ 64 h 79"/>
                <a:gd name="T42" fmla="*/ 23 w 81"/>
                <a:gd name="T43" fmla="*/ 42 h 79"/>
                <a:gd name="T44" fmla="*/ 57 w 81"/>
                <a:gd name="T45" fmla="*/ 42 h 79"/>
                <a:gd name="T46" fmla="*/ 57 w 81"/>
                <a:gd name="T47" fmla="*/ 64 h 79"/>
                <a:gd name="T48" fmla="*/ 50 w 81"/>
                <a:gd name="T49" fmla="*/ 74 h 79"/>
                <a:gd name="T50" fmla="*/ 48 w 81"/>
                <a:gd name="T51" fmla="*/ 74 h 79"/>
                <a:gd name="T52" fmla="*/ 48 w 81"/>
                <a:gd name="T53" fmla="*/ 79 h 79"/>
                <a:gd name="T54" fmla="*/ 81 w 81"/>
                <a:gd name="T55" fmla="*/ 79 h 79"/>
                <a:gd name="T56" fmla="*/ 81 w 81"/>
                <a:gd name="T57" fmla="*/ 74 h 79"/>
                <a:gd name="T58" fmla="*/ 79 w 81"/>
                <a:gd name="T59" fmla="*/ 74 h 79"/>
                <a:gd name="T60" fmla="*/ 71 w 81"/>
                <a:gd name="T61" fmla="*/ 64 h 79"/>
                <a:gd name="T62" fmla="*/ 71 w 81"/>
                <a:gd name="T63" fmla="*/ 14 h 79"/>
                <a:gd name="T64" fmla="*/ 79 w 81"/>
                <a:gd name="T65" fmla="*/ 5 h 79"/>
                <a:gd name="T66" fmla="*/ 81 w 81"/>
                <a:gd name="T67" fmla="*/ 5 h 79"/>
                <a:gd name="T68" fmla="*/ 81 w 81"/>
                <a:gd name="T69" fmla="*/ 0 h 79"/>
                <a:gd name="T70" fmla="*/ 48 w 81"/>
                <a:gd name="T71" fmla="*/ 0 h 79"/>
                <a:gd name="T72" fmla="*/ 48 w 81"/>
                <a:gd name="T73" fmla="*/ 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1" h="79">
                  <a:moveTo>
                    <a:pt x="48" y="5"/>
                  </a:moveTo>
                  <a:cubicBezTo>
                    <a:pt x="49" y="5"/>
                    <a:pt x="49" y="5"/>
                    <a:pt x="49" y="5"/>
                  </a:cubicBezTo>
                  <a:cubicBezTo>
                    <a:pt x="55" y="5"/>
                    <a:pt x="57" y="8"/>
                    <a:pt x="57" y="15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8"/>
                    <a:pt x="26" y="5"/>
                    <a:pt x="31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7" y="5"/>
                    <a:pt x="9" y="8"/>
                    <a:pt x="9" y="14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9" y="70"/>
                    <a:pt x="7" y="74"/>
                    <a:pt x="2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3" y="74"/>
                    <a:pt x="33" y="74"/>
                    <a:pt x="33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26" y="74"/>
                    <a:pt x="23" y="70"/>
                    <a:pt x="23" y="64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57" y="64"/>
                    <a:pt x="57" y="64"/>
                    <a:pt x="57" y="64"/>
                  </a:cubicBezTo>
                  <a:cubicBezTo>
                    <a:pt x="57" y="70"/>
                    <a:pt x="55" y="74"/>
                    <a:pt x="50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79" y="74"/>
                    <a:pt x="79" y="74"/>
                    <a:pt x="79" y="74"/>
                  </a:cubicBezTo>
                  <a:cubicBezTo>
                    <a:pt x="73" y="74"/>
                    <a:pt x="71" y="71"/>
                    <a:pt x="71" y="64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1" y="8"/>
                    <a:pt x="73" y="5"/>
                    <a:pt x="79" y="5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48" y="0"/>
                    <a:pt x="48" y="0"/>
                    <a:pt x="48" y="0"/>
                  </a:cubicBezTo>
                  <a:lnTo>
                    <a:pt x="48" y="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50" name="iṩḻïďè"/>
            <p:cNvSpPr/>
            <p:nvPr userDrawn="1"/>
          </p:nvSpPr>
          <p:spPr bwMode="auto">
            <a:xfrm>
              <a:off x="4837113" y="3919538"/>
              <a:ext cx="85725" cy="211138"/>
            </a:xfrm>
            <a:custGeom>
              <a:avLst/>
              <a:gdLst>
                <a:gd name="T0" fmla="*/ 0 w 32"/>
                <a:gd name="T1" fmla="*/ 5 h 79"/>
                <a:gd name="T2" fmla="*/ 1 w 32"/>
                <a:gd name="T3" fmla="*/ 5 h 79"/>
                <a:gd name="T4" fmla="*/ 8 w 32"/>
                <a:gd name="T5" fmla="*/ 15 h 79"/>
                <a:gd name="T6" fmla="*/ 8 w 32"/>
                <a:gd name="T7" fmla="*/ 65 h 79"/>
                <a:gd name="T8" fmla="*/ 1 w 32"/>
                <a:gd name="T9" fmla="*/ 74 h 79"/>
                <a:gd name="T10" fmla="*/ 0 w 32"/>
                <a:gd name="T11" fmla="*/ 74 h 79"/>
                <a:gd name="T12" fmla="*/ 0 w 32"/>
                <a:gd name="T13" fmla="*/ 79 h 79"/>
                <a:gd name="T14" fmla="*/ 32 w 32"/>
                <a:gd name="T15" fmla="*/ 79 h 79"/>
                <a:gd name="T16" fmla="*/ 32 w 32"/>
                <a:gd name="T17" fmla="*/ 74 h 79"/>
                <a:gd name="T18" fmla="*/ 30 w 32"/>
                <a:gd name="T19" fmla="*/ 74 h 79"/>
                <a:gd name="T20" fmla="*/ 22 w 32"/>
                <a:gd name="T21" fmla="*/ 64 h 79"/>
                <a:gd name="T22" fmla="*/ 22 w 32"/>
                <a:gd name="T23" fmla="*/ 15 h 79"/>
                <a:gd name="T24" fmla="*/ 30 w 32"/>
                <a:gd name="T25" fmla="*/ 5 h 79"/>
                <a:gd name="T26" fmla="*/ 32 w 32"/>
                <a:gd name="T27" fmla="*/ 5 h 79"/>
                <a:gd name="T28" fmla="*/ 32 w 32"/>
                <a:gd name="T29" fmla="*/ 0 h 79"/>
                <a:gd name="T30" fmla="*/ 0 w 32"/>
                <a:gd name="T31" fmla="*/ 0 h 79"/>
                <a:gd name="T32" fmla="*/ 0 w 32"/>
                <a:gd name="T33" fmla="*/ 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0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6" y="5"/>
                    <a:pt x="9" y="8"/>
                    <a:pt x="8" y="15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9" y="71"/>
                    <a:pt x="6" y="74"/>
                    <a:pt x="1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25" y="74"/>
                    <a:pt x="22" y="71"/>
                    <a:pt x="22" y="64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8"/>
                    <a:pt x="25" y="5"/>
                    <a:pt x="30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51" name="îSľîḍè"/>
            <p:cNvSpPr/>
            <p:nvPr userDrawn="1"/>
          </p:nvSpPr>
          <p:spPr bwMode="auto">
            <a:xfrm>
              <a:off x="4951413" y="3919538"/>
              <a:ext cx="211138" cy="211138"/>
            </a:xfrm>
            <a:custGeom>
              <a:avLst/>
              <a:gdLst>
                <a:gd name="T0" fmla="*/ 52 w 79"/>
                <a:gd name="T1" fmla="*/ 5 h 79"/>
                <a:gd name="T2" fmla="*/ 54 w 79"/>
                <a:gd name="T3" fmla="*/ 5 h 79"/>
                <a:gd name="T4" fmla="*/ 62 w 79"/>
                <a:gd name="T5" fmla="*/ 7 h 79"/>
                <a:gd name="T6" fmla="*/ 63 w 79"/>
                <a:gd name="T7" fmla="*/ 16 h 79"/>
                <a:gd name="T8" fmla="*/ 63 w 79"/>
                <a:gd name="T9" fmla="*/ 54 h 79"/>
                <a:gd name="T10" fmla="*/ 21 w 79"/>
                <a:gd name="T11" fmla="*/ 0 h 79"/>
                <a:gd name="T12" fmla="*/ 1 w 79"/>
                <a:gd name="T13" fmla="*/ 0 h 79"/>
                <a:gd name="T14" fmla="*/ 1 w 79"/>
                <a:gd name="T15" fmla="*/ 5 h 79"/>
                <a:gd name="T16" fmla="*/ 9 w 79"/>
                <a:gd name="T17" fmla="*/ 8 h 79"/>
                <a:gd name="T18" fmla="*/ 9 w 79"/>
                <a:gd name="T19" fmla="*/ 66 h 79"/>
                <a:gd name="T20" fmla="*/ 1 w 79"/>
                <a:gd name="T21" fmla="*/ 74 h 79"/>
                <a:gd name="T22" fmla="*/ 0 w 79"/>
                <a:gd name="T23" fmla="*/ 74 h 79"/>
                <a:gd name="T24" fmla="*/ 0 w 79"/>
                <a:gd name="T25" fmla="*/ 79 h 79"/>
                <a:gd name="T26" fmla="*/ 25 w 79"/>
                <a:gd name="T27" fmla="*/ 79 h 79"/>
                <a:gd name="T28" fmla="*/ 25 w 79"/>
                <a:gd name="T29" fmla="*/ 74 h 79"/>
                <a:gd name="T30" fmla="*/ 15 w 79"/>
                <a:gd name="T31" fmla="*/ 63 h 79"/>
                <a:gd name="T32" fmla="*/ 15 w 79"/>
                <a:gd name="T33" fmla="*/ 16 h 79"/>
                <a:gd name="T34" fmla="*/ 64 w 79"/>
                <a:gd name="T35" fmla="*/ 79 h 79"/>
                <a:gd name="T36" fmla="*/ 69 w 79"/>
                <a:gd name="T37" fmla="*/ 79 h 79"/>
                <a:gd name="T38" fmla="*/ 69 w 79"/>
                <a:gd name="T39" fmla="*/ 12 h 79"/>
                <a:gd name="T40" fmla="*/ 77 w 79"/>
                <a:gd name="T41" fmla="*/ 5 h 79"/>
                <a:gd name="T42" fmla="*/ 79 w 79"/>
                <a:gd name="T43" fmla="*/ 5 h 79"/>
                <a:gd name="T44" fmla="*/ 79 w 79"/>
                <a:gd name="T45" fmla="*/ 0 h 79"/>
                <a:gd name="T46" fmla="*/ 52 w 79"/>
                <a:gd name="T47" fmla="*/ 0 h 79"/>
                <a:gd name="T48" fmla="*/ 52 w 79"/>
                <a:gd name="T49" fmla="*/ 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79">
                  <a:moveTo>
                    <a:pt x="52" y="5"/>
                  </a:moveTo>
                  <a:cubicBezTo>
                    <a:pt x="54" y="5"/>
                    <a:pt x="54" y="5"/>
                    <a:pt x="54" y="5"/>
                  </a:cubicBezTo>
                  <a:cubicBezTo>
                    <a:pt x="58" y="5"/>
                    <a:pt x="61" y="6"/>
                    <a:pt x="62" y="7"/>
                  </a:cubicBezTo>
                  <a:cubicBezTo>
                    <a:pt x="63" y="8"/>
                    <a:pt x="63" y="11"/>
                    <a:pt x="63" y="16"/>
                  </a:cubicBezTo>
                  <a:cubicBezTo>
                    <a:pt x="63" y="54"/>
                    <a:pt x="63" y="54"/>
                    <a:pt x="63" y="5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4" y="5"/>
                    <a:pt x="7" y="6"/>
                    <a:pt x="9" y="8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9" y="71"/>
                    <a:pt x="6" y="74"/>
                    <a:pt x="1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18" y="74"/>
                    <a:pt x="15" y="71"/>
                    <a:pt x="15" y="63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7"/>
                    <a:pt x="72" y="5"/>
                    <a:pt x="77" y="5"/>
                  </a:cubicBezTo>
                  <a:cubicBezTo>
                    <a:pt x="79" y="5"/>
                    <a:pt x="79" y="5"/>
                    <a:pt x="79" y="5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52" y="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52" name="ïSļïďe"/>
            <p:cNvSpPr/>
            <p:nvPr userDrawn="1"/>
          </p:nvSpPr>
          <p:spPr bwMode="auto">
            <a:xfrm>
              <a:off x="5186363" y="3914775"/>
              <a:ext cx="196850" cy="215900"/>
            </a:xfrm>
            <a:custGeom>
              <a:avLst/>
              <a:gdLst>
                <a:gd name="T0" fmla="*/ 63 w 74"/>
                <a:gd name="T1" fmla="*/ 64 h 81"/>
                <a:gd name="T2" fmla="*/ 43 w 74"/>
                <a:gd name="T3" fmla="*/ 0 h 81"/>
                <a:gd name="T4" fmla="*/ 28 w 74"/>
                <a:gd name="T5" fmla="*/ 0 h 81"/>
                <a:gd name="T6" fmla="*/ 29 w 74"/>
                <a:gd name="T7" fmla="*/ 4 h 81"/>
                <a:gd name="T8" fmla="*/ 12 w 74"/>
                <a:gd name="T9" fmla="*/ 64 h 81"/>
                <a:gd name="T10" fmla="*/ 2 w 74"/>
                <a:gd name="T11" fmla="*/ 76 h 81"/>
                <a:gd name="T12" fmla="*/ 0 w 74"/>
                <a:gd name="T13" fmla="*/ 76 h 81"/>
                <a:gd name="T14" fmla="*/ 0 w 74"/>
                <a:gd name="T15" fmla="*/ 81 h 81"/>
                <a:gd name="T16" fmla="*/ 27 w 74"/>
                <a:gd name="T17" fmla="*/ 81 h 81"/>
                <a:gd name="T18" fmla="*/ 27 w 74"/>
                <a:gd name="T19" fmla="*/ 76 h 81"/>
                <a:gd name="T20" fmla="*/ 26 w 74"/>
                <a:gd name="T21" fmla="*/ 76 h 81"/>
                <a:gd name="T22" fmla="*/ 18 w 74"/>
                <a:gd name="T23" fmla="*/ 74 h 81"/>
                <a:gd name="T24" fmla="*/ 18 w 74"/>
                <a:gd name="T25" fmla="*/ 66 h 81"/>
                <a:gd name="T26" fmla="*/ 22 w 74"/>
                <a:gd name="T27" fmla="*/ 51 h 81"/>
                <a:gd name="T28" fmla="*/ 44 w 74"/>
                <a:gd name="T29" fmla="*/ 51 h 81"/>
                <a:gd name="T30" fmla="*/ 49 w 74"/>
                <a:gd name="T31" fmla="*/ 66 h 81"/>
                <a:gd name="T32" fmla="*/ 50 w 74"/>
                <a:gd name="T33" fmla="*/ 73 h 81"/>
                <a:gd name="T34" fmla="*/ 44 w 74"/>
                <a:gd name="T35" fmla="*/ 76 h 81"/>
                <a:gd name="T36" fmla="*/ 41 w 74"/>
                <a:gd name="T37" fmla="*/ 76 h 81"/>
                <a:gd name="T38" fmla="*/ 41 w 74"/>
                <a:gd name="T39" fmla="*/ 81 h 81"/>
                <a:gd name="T40" fmla="*/ 74 w 74"/>
                <a:gd name="T41" fmla="*/ 81 h 81"/>
                <a:gd name="T42" fmla="*/ 74 w 74"/>
                <a:gd name="T43" fmla="*/ 76 h 81"/>
                <a:gd name="T44" fmla="*/ 63 w 74"/>
                <a:gd name="T45" fmla="*/ 64 h 81"/>
                <a:gd name="T46" fmla="*/ 24 w 74"/>
                <a:gd name="T47" fmla="*/ 45 h 81"/>
                <a:gd name="T48" fmla="*/ 33 w 74"/>
                <a:gd name="T49" fmla="*/ 15 h 81"/>
                <a:gd name="T50" fmla="*/ 42 w 74"/>
                <a:gd name="T51" fmla="*/ 45 h 81"/>
                <a:gd name="T52" fmla="*/ 24 w 74"/>
                <a:gd name="T53" fmla="*/ 4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4" h="81">
                  <a:moveTo>
                    <a:pt x="63" y="64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0" y="72"/>
                    <a:pt x="6" y="76"/>
                    <a:pt x="2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2" y="76"/>
                    <a:pt x="19" y="75"/>
                    <a:pt x="18" y="74"/>
                  </a:cubicBezTo>
                  <a:cubicBezTo>
                    <a:pt x="17" y="73"/>
                    <a:pt x="17" y="70"/>
                    <a:pt x="18" y="66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44" y="51"/>
                    <a:pt x="44" y="51"/>
                    <a:pt x="44" y="51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50" y="69"/>
                    <a:pt x="51" y="71"/>
                    <a:pt x="50" y="73"/>
                  </a:cubicBezTo>
                  <a:cubicBezTo>
                    <a:pt x="49" y="75"/>
                    <a:pt x="47" y="76"/>
                    <a:pt x="44" y="76"/>
                  </a:cubicBezTo>
                  <a:cubicBezTo>
                    <a:pt x="41" y="76"/>
                    <a:pt x="41" y="76"/>
                    <a:pt x="41" y="76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69" y="76"/>
                    <a:pt x="66" y="72"/>
                    <a:pt x="63" y="64"/>
                  </a:cubicBezTo>
                  <a:close/>
                  <a:moveTo>
                    <a:pt x="24" y="45"/>
                  </a:moveTo>
                  <a:cubicBezTo>
                    <a:pt x="33" y="15"/>
                    <a:pt x="33" y="15"/>
                    <a:pt x="33" y="15"/>
                  </a:cubicBezTo>
                  <a:cubicBezTo>
                    <a:pt x="42" y="45"/>
                    <a:pt x="42" y="45"/>
                    <a:pt x="42" y="45"/>
                  </a:cubicBezTo>
                  <a:lnTo>
                    <a:pt x="24" y="4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53" name="ïṧ1ïḓe"/>
            <p:cNvSpPr/>
            <p:nvPr userDrawn="1"/>
          </p:nvSpPr>
          <p:spPr bwMode="auto">
            <a:xfrm>
              <a:off x="5475288" y="3919538"/>
              <a:ext cx="206375" cy="214313"/>
            </a:xfrm>
            <a:custGeom>
              <a:avLst/>
              <a:gdLst>
                <a:gd name="T0" fmla="*/ 51 w 77"/>
                <a:gd name="T1" fmla="*/ 5 h 80"/>
                <a:gd name="T2" fmla="*/ 53 w 77"/>
                <a:gd name="T3" fmla="*/ 5 h 80"/>
                <a:gd name="T4" fmla="*/ 61 w 77"/>
                <a:gd name="T5" fmla="*/ 18 h 80"/>
                <a:gd name="T6" fmla="*/ 61 w 77"/>
                <a:gd name="T7" fmla="*/ 48 h 80"/>
                <a:gd name="T8" fmla="*/ 41 w 77"/>
                <a:gd name="T9" fmla="*/ 72 h 80"/>
                <a:gd name="T10" fmla="*/ 23 w 77"/>
                <a:gd name="T11" fmla="*/ 51 h 80"/>
                <a:gd name="T12" fmla="*/ 23 w 77"/>
                <a:gd name="T13" fmla="*/ 14 h 80"/>
                <a:gd name="T14" fmla="*/ 30 w 77"/>
                <a:gd name="T15" fmla="*/ 5 h 80"/>
                <a:gd name="T16" fmla="*/ 31 w 77"/>
                <a:gd name="T17" fmla="*/ 5 h 80"/>
                <a:gd name="T18" fmla="*/ 31 w 77"/>
                <a:gd name="T19" fmla="*/ 0 h 80"/>
                <a:gd name="T20" fmla="*/ 0 w 77"/>
                <a:gd name="T21" fmla="*/ 0 h 80"/>
                <a:gd name="T22" fmla="*/ 0 w 77"/>
                <a:gd name="T23" fmla="*/ 5 h 80"/>
                <a:gd name="T24" fmla="*/ 2 w 77"/>
                <a:gd name="T25" fmla="*/ 5 h 80"/>
                <a:gd name="T26" fmla="*/ 9 w 77"/>
                <a:gd name="T27" fmla="*/ 14 h 80"/>
                <a:gd name="T28" fmla="*/ 9 w 77"/>
                <a:gd name="T29" fmla="*/ 51 h 80"/>
                <a:gd name="T30" fmla="*/ 39 w 77"/>
                <a:gd name="T31" fmla="*/ 80 h 80"/>
                <a:gd name="T32" fmla="*/ 67 w 77"/>
                <a:gd name="T33" fmla="*/ 47 h 80"/>
                <a:gd name="T34" fmla="*/ 67 w 77"/>
                <a:gd name="T35" fmla="*/ 16 h 80"/>
                <a:gd name="T36" fmla="*/ 76 w 77"/>
                <a:gd name="T37" fmla="*/ 5 h 80"/>
                <a:gd name="T38" fmla="*/ 77 w 77"/>
                <a:gd name="T39" fmla="*/ 5 h 80"/>
                <a:gd name="T40" fmla="*/ 77 w 77"/>
                <a:gd name="T41" fmla="*/ 0 h 80"/>
                <a:gd name="T42" fmla="*/ 51 w 77"/>
                <a:gd name="T43" fmla="*/ 0 h 80"/>
                <a:gd name="T44" fmla="*/ 51 w 77"/>
                <a:gd name="T45" fmla="*/ 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7" h="80">
                  <a:moveTo>
                    <a:pt x="51" y="5"/>
                  </a:moveTo>
                  <a:cubicBezTo>
                    <a:pt x="53" y="5"/>
                    <a:pt x="53" y="5"/>
                    <a:pt x="53" y="5"/>
                  </a:cubicBezTo>
                  <a:cubicBezTo>
                    <a:pt x="58" y="5"/>
                    <a:pt x="61" y="9"/>
                    <a:pt x="61" y="18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64"/>
                    <a:pt x="54" y="71"/>
                    <a:pt x="41" y="72"/>
                  </a:cubicBezTo>
                  <a:cubicBezTo>
                    <a:pt x="29" y="71"/>
                    <a:pt x="23" y="64"/>
                    <a:pt x="23" y="51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8"/>
                    <a:pt x="25" y="5"/>
                    <a:pt x="30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7" y="5"/>
                    <a:pt x="9" y="8"/>
                    <a:pt x="9" y="14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70"/>
                    <a:pt x="19" y="79"/>
                    <a:pt x="39" y="80"/>
                  </a:cubicBezTo>
                  <a:cubicBezTo>
                    <a:pt x="57" y="79"/>
                    <a:pt x="67" y="68"/>
                    <a:pt x="67" y="47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8"/>
                    <a:pt x="70" y="5"/>
                    <a:pt x="76" y="5"/>
                  </a:cubicBezTo>
                  <a:cubicBezTo>
                    <a:pt x="77" y="5"/>
                    <a:pt x="77" y="5"/>
                    <a:pt x="77" y="5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51" y="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54" name="îṥḷíḓè"/>
            <p:cNvSpPr/>
            <p:nvPr userDrawn="1"/>
          </p:nvSpPr>
          <p:spPr bwMode="auto">
            <a:xfrm>
              <a:off x="5707063" y="3919538"/>
              <a:ext cx="207963" cy="211138"/>
            </a:xfrm>
            <a:custGeom>
              <a:avLst/>
              <a:gdLst>
                <a:gd name="T0" fmla="*/ 52 w 78"/>
                <a:gd name="T1" fmla="*/ 5 h 79"/>
                <a:gd name="T2" fmla="*/ 53 w 78"/>
                <a:gd name="T3" fmla="*/ 5 h 79"/>
                <a:gd name="T4" fmla="*/ 61 w 78"/>
                <a:gd name="T5" fmla="*/ 7 h 79"/>
                <a:gd name="T6" fmla="*/ 63 w 78"/>
                <a:gd name="T7" fmla="*/ 16 h 79"/>
                <a:gd name="T8" fmla="*/ 63 w 78"/>
                <a:gd name="T9" fmla="*/ 54 h 79"/>
                <a:gd name="T10" fmla="*/ 21 w 78"/>
                <a:gd name="T11" fmla="*/ 0 h 79"/>
                <a:gd name="T12" fmla="*/ 0 w 78"/>
                <a:gd name="T13" fmla="*/ 0 h 79"/>
                <a:gd name="T14" fmla="*/ 0 w 78"/>
                <a:gd name="T15" fmla="*/ 5 h 79"/>
                <a:gd name="T16" fmla="*/ 8 w 78"/>
                <a:gd name="T17" fmla="*/ 8 h 79"/>
                <a:gd name="T18" fmla="*/ 8 w 78"/>
                <a:gd name="T19" fmla="*/ 66 h 79"/>
                <a:gd name="T20" fmla="*/ 1 w 78"/>
                <a:gd name="T21" fmla="*/ 74 h 79"/>
                <a:gd name="T22" fmla="*/ 0 w 78"/>
                <a:gd name="T23" fmla="*/ 74 h 79"/>
                <a:gd name="T24" fmla="*/ 0 w 78"/>
                <a:gd name="T25" fmla="*/ 79 h 79"/>
                <a:gd name="T26" fmla="*/ 24 w 78"/>
                <a:gd name="T27" fmla="*/ 79 h 79"/>
                <a:gd name="T28" fmla="*/ 24 w 78"/>
                <a:gd name="T29" fmla="*/ 74 h 79"/>
                <a:gd name="T30" fmla="*/ 14 w 78"/>
                <a:gd name="T31" fmla="*/ 63 h 79"/>
                <a:gd name="T32" fmla="*/ 14 w 78"/>
                <a:gd name="T33" fmla="*/ 16 h 79"/>
                <a:gd name="T34" fmla="*/ 63 w 78"/>
                <a:gd name="T35" fmla="*/ 79 h 79"/>
                <a:gd name="T36" fmla="*/ 68 w 78"/>
                <a:gd name="T37" fmla="*/ 79 h 79"/>
                <a:gd name="T38" fmla="*/ 68 w 78"/>
                <a:gd name="T39" fmla="*/ 12 h 79"/>
                <a:gd name="T40" fmla="*/ 77 w 78"/>
                <a:gd name="T41" fmla="*/ 5 h 79"/>
                <a:gd name="T42" fmla="*/ 78 w 78"/>
                <a:gd name="T43" fmla="*/ 5 h 79"/>
                <a:gd name="T44" fmla="*/ 78 w 78"/>
                <a:gd name="T45" fmla="*/ 0 h 79"/>
                <a:gd name="T46" fmla="*/ 52 w 78"/>
                <a:gd name="T47" fmla="*/ 0 h 79"/>
                <a:gd name="T48" fmla="*/ 52 w 78"/>
                <a:gd name="T49" fmla="*/ 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8" h="79">
                  <a:moveTo>
                    <a:pt x="52" y="5"/>
                  </a:moveTo>
                  <a:cubicBezTo>
                    <a:pt x="53" y="5"/>
                    <a:pt x="53" y="5"/>
                    <a:pt x="53" y="5"/>
                  </a:cubicBezTo>
                  <a:cubicBezTo>
                    <a:pt x="57" y="5"/>
                    <a:pt x="60" y="6"/>
                    <a:pt x="61" y="7"/>
                  </a:cubicBezTo>
                  <a:cubicBezTo>
                    <a:pt x="62" y="8"/>
                    <a:pt x="63" y="11"/>
                    <a:pt x="63" y="16"/>
                  </a:cubicBezTo>
                  <a:cubicBezTo>
                    <a:pt x="63" y="54"/>
                    <a:pt x="63" y="54"/>
                    <a:pt x="63" y="5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" y="5"/>
                    <a:pt x="6" y="6"/>
                    <a:pt x="8" y="8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71"/>
                    <a:pt x="6" y="74"/>
                    <a:pt x="1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17" y="74"/>
                    <a:pt x="14" y="71"/>
                    <a:pt x="14" y="63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8" y="79"/>
                    <a:pt x="68" y="79"/>
                    <a:pt x="68" y="79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7"/>
                    <a:pt x="71" y="5"/>
                    <a:pt x="77" y="5"/>
                  </a:cubicBezTo>
                  <a:cubicBezTo>
                    <a:pt x="78" y="5"/>
                    <a:pt x="78" y="5"/>
                    <a:pt x="78" y="5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52" y="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55" name="îṥ1ïḍé"/>
            <p:cNvSpPr/>
            <p:nvPr userDrawn="1"/>
          </p:nvSpPr>
          <p:spPr bwMode="auto">
            <a:xfrm>
              <a:off x="5943600" y="3919538"/>
              <a:ext cx="85725" cy="211138"/>
            </a:xfrm>
            <a:custGeom>
              <a:avLst/>
              <a:gdLst>
                <a:gd name="T0" fmla="*/ 0 w 32"/>
                <a:gd name="T1" fmla="*/ 5 h 79"/>
                <a:gd name="T2" fmla="*/ 1 w 32"/>
                <a:gd name="T3" fmla="*/ 5 h 79"/>
                <a:gd name="T4" fmla="*/ 9 w 32"/>
                <a:gd name="T5" fmla="*/ 15 h 79"/>
                <a:gd name="T6" fmla="*/ 9 w 32"/>
                <a:gd name="T7" fmla="*/ 65 h 79"/>
                <a:gd name="T8" fmla="*/ 1 w 32"/>
                <a:gd name="T9" fmla="*/ 74 h 79"/>
                <a:gd name="T10" fmla="*/ 0 w 32"/>
                <a:gd name="T11" fmla="*/ 74 h 79"/>
                <a:gd name="T12" fmla="*/ 0 w 32"/>
                <a:gd name="T13" fmla="*/ 79 h 79"/>
                <a:gd name="T14" fmla="*/ 32 w 32"/>
                <a:gd name="T15" fmla="*/ 79 h 79"/>
                <a:gd name="T16" fmla="*/ 32 w 32"/>
                <a:gd name="T17" fmla="*/ 74 h 79"/>
                <a:gd name="T18" fmla="*/ 31 w 32"/>
                <a:gd name="T19" fmla="*/ 74 h 79"/>
                <a:gd name="T20" fmla="*/ 23 w 32"/>
                <a:gd name="T21" fmla="*/ 64 h 79"/>
                <a:gd name="T22" fmla="*/ 23 w 32"/>
                <a:gd name="T23" fmla="*/ 15 h 79"/>
                <a:gd name="T24" fmla="*/ 31 w 32"/>
                <a:gd name="T25" fmla="*/ 5 h 79"/>
                <a:gd name="T26" fmla="*/ 32 w 32"/>
                <a:gd name="T27" fmla="*/ 5 h 79"/>
                <a:gd name="T28" fmla="*/ 32 w 32"/>
                <a:gd name="T29" fmla="*/ 0 h 79"/>
                <a:gd name="T30" fmla="*/ 0 w 32"/>
                <a:gd name="T31" fmla="*/ 0 h 79"/>
                <a:gd name="T32" fmla="*/ 0 w 32"/>
                <a:gd name="T33" fmla="*/ 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0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7" y="5"/>
                    <a:pt x="9" y="8"/>
                    <a:pt x="9" y="15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9" y="71"/>
                    <a:pt x="7" y="74"/>
                    <a:pt x="1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25" y="74"/>
                    <a:pt x="23" y="71"/>
                    <a:pt x="23" y="64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8"/>
                    <a:pt x="25" y="5"/>
                    <a:pt x="31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56" name="îşlîḑe"/>
            <p:cNvSpPr/>
            <p:nvPr userDrawn="1"/>
          </p:nvSpPr>
          <p:spPr bwMode="auto">
            <a:xfrm>
              <a:off x="6056313" y="3919538"/>
              <a:ext cx="200025" cy="214313"/>
            </a:xfrm>
            <a:custGeom>
              <a:avLst/>
              <a:gdLst>
                <a:gd name="T0" fmla="*/ 49 w 75"/>
                <a:gd name="T1" fmla="*/ 5 h 80"/>
                <a:gd name="T2" fmla="*/ 52 w 75"/>
                <a:gd name="T3" fmla="*/ 5 h 80"/>
                <a:gd name="T4" fmla="*/ 58 w 75"/>
                <a:gd name="T5" fmla="*/ 12 h 80"/>
                <a:gd name="T6" fmla="*/ 42 w 75"/>
                <a:gd name="T7" fmla="*/ 58 h 80"/>
                <a:gd name="T8" fmla="*/ 27 w 75"/>
                <a:gd name="T9" fmla="*/ 16 h 80"/>
                <a:gd name="T10" fmla="*/ 26 w 75"/>
                <a:gd name="T11" fmla="*/ 8 h 80"/>
                <a:gd name="T12" fmla="*/ 34 w 75"/>
                <a:gd name="T13" fmla="*/ 5 h 80"/>
                <a:gd name="T14" fmla="*/ 35 w 75"/>
                <a:gd name="T15" fmla="*/ 5 h 80"/>
                <a:gd name="T16" fmla="*/ 35 w 75"/>
                <a:gd name="T17" fmla="*/ 0 h 80"/>
                <a:gd name="T18" fmla="*/ 0 w 75"/>
                <a:gd name="T19" fmla="*/ 0 h 80"/>
                <a:gd name="T20" fmla="*/ 0 w 75"/>
                <a:gd name="T21" fmla="*/ 5 h 80"/>
                <a:gd name="T22" fmla="*/ 1 w 75"/>
                <a:gd name="T23" fmla="*/ 5 h 80"/>
                <a:gd name="T24" fmla="*/ 7 w 75"/>
                <a:gd name="T25" fmla="*/ 7 h 80"/>
                <a:gd name="T26" fmla="*/ 11 w 75"/>
                <a:gd name="T27" fmla="*/ 16 h 80"/>
                <a:gd name="T28" fmla="*/ 35 w 75"/>
                <a:gd name="T29" fmla="*/ 80 h 80"/>
                <a:gd name="T30" fmla="*/ 42 w 75"/>
                <a:gd name="T31" fmla="*/ 80 h 80"/>
                <a:gd name="T32" fmla="*/ 63 w 75"/>
                <a:gd name="T33" fmla="*/ 18 h 80"/>
                <a:gd name="T34" fmla="*/ 75 w 75"/>
                <a:gd name="T35" fmla="*/ 5 h 80"/>
                <a:gd name="T36" fmla="*/ 75 w 75"/>
                <a:gd name="T37" fmla="*/ 5 h 80"/>
                <a:gd name="T38" fmla="*/ 75 w 75"/>
                <a:gd name="T39" fmla="*/ 0 h 80"/>
                <a:gd name="T40" fmla="*/ 49 w 75"/>
                <a:gd name="T41" fmla="*/ 0 h 80"/>
                <a:gd name="T42" fmla="*/ 49 w 75"/>
                <a:gd name="T43" fmla="*/ 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0">
                  <a:moveTo>
                    <a:pt x="49" y="5"/>
                  </a:moveTo>
                  <a:cubicBezTo>
                    <a:pt x="52" y="5"/>
                    <a:pt x="52" y="5"/>
                    <a:pt x="52" y="5"/>
                  </a:cubicBezTo>
                  <a:cubicBezTo>
                    <a:pt x="57" y="6"/>
                    <a:pt x="59" y="8"/>
                    <a:pt x="58" y="12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5" y="12"/>
                    <a:pt x="25" y="9"/>
                    <a:pt x="26" y="8"/>
                  </a:cubicBezTo>
                  <a:cubicBezTo>
                    <a:pt x="27" y="6"/>
                    <a:pt x="29" y="5"/>
                    <a:pt x="34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4" y="5"/>
                    <a:pt x="6" y="6"/>
                    <a:pt x="7" y="7"/>
                  </a:cubicBezTo>
                  <a:cubicBezTo>
                    <a:pt x="8" y="8"/>
                    <a:pt x="10" y="11"/>
                    <a:pt x="11" y="16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6" y="9"/>
                    <a:pt x="70" y="5"/>
                    <a:pt x="75" y="5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49" y="0"/>
                    <a:pt x="49" y="0"/>
                    <a:pt x="49" y="0"/>
                  </a:cubicBezTo>
                  <a:lnTo>
                    <a:pt x="49" y="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57" name="íṡļíďè"/>
            <p:cNvSpPr/>
            <p:nvPr userDrawn="1"/>
          </p:nvSpPr>
          <p:spPr bwMode="auto">
            <a:xfrm>
              <a:off x="6276975" y="3919538"/>
              <a:ext cx="165100" cy="211138"/>
            </a:xfrm>
            <a:custGeom>
              <a:avLst/>
              <a:gdLst>
                <a:gd name="T0" fmla="*/ 46 w 62"/>
                <a:gd name="T1" fmla="*/ 72 h 79"/>
                <a:gd name="T2" fmla="*/ 29 w 62"/>
                <a:gd name="T3" fmla="*/ 72 h 79"/>
                <a:gd name="T4" fmla="*/ 25 w 62"/>
                <a:gd name="T5" fmla="*/ 65 h 79"/>
                <a:gd name="T6" fmla="*/ 25 w 62"/>
                <a:gd name="T7" fmla="*/ 43 h 79"/>
                <a:gd name="T8" fmla="*/ 40 w 62"/>
                <a:gd name="T9" fmla="*/ 43 h 79"/>
                <a:gd name="T10" fmla="*/ 50 w 62"/>
                <a:gd name="T11" fmla="*/ 51 h 79"/>
                <a:gd name="T12" fmla="*/ 54 w 62"/>
                <a:gd name="T13" fmla="*/ 51 h 79"/>
                <a:gd name="T14" fmla="*/ 54 w 62"/>
                <a:gd name="T15" fmla="*/ 26 h 79"/>
                <a:gd name="T16" fmla="*/ 50 w 62"/>
                <a:gd name="T17" fmla="*/ 26 h 79"/>
                <a:gd name="T18" fmla="*/ 42 w 62"/>
                <a:gd name="T19" fmla="*/ 35 h 79"/>
                <a:gd name="T20" fmla="*/ 25 w 62"/>
                <a:gd name="T21" fmla="*/ 35 h 79"/>
                <a:gd name="T22" fmla="*/ 25 w 62"/>
                <a:gd name="T23" fmla="*/ 7 h 79"/>
                <a:gd name="T24" fmla="*/ 48 w 62"/>
                <a:gd name="T25" fmla="*/ 7 h 79"/>
                <a:gd name="T26" fmla="*/ 55 w 62"/>
                <a:gd name="T27" fmla="*/ 18 h 79"/>
                <a:gd name="T28" fmla="*/ 59 w 62"/>
                <a:gd name="T29" fmla="*/ 18 h 79"/>
                <a:gd name="T30" fmla="*/ 58 w 62"/>
                <a:gd name="T31" fmla="*/ 0 h 79"/>
                <a:gd name="T32" fmla="*/ 2 w 62"/>
                <a:gd name="T33" fmla="*/ 0 h 79"/>
                <a:gd name="T34" fmla="*/ 2 w 62"/>
                <a:gd name="T35" fmla="*/ 5 h 79"/>
                <a:gd name="T36" fmla="*/ 3 w 62"/>
                <a:gd name="T37" fmla="*/ 5 h 79"/>
                <a:gd name="T38" fmla="*/ 11 w 62"/>
                <a:gd name="T39" fmla="*/ 14 h 79"/>
                <a:gd name="T40" fmla="*/ 11 w 62"/>
                <a:gd name="T41" fmla="*/ 65 h 79"/>
                <a:gd name="T42" fmla="*/ 4 w 62"/>
                <a:gd name="T43" fmla="*/ 74 h 79"/>
                <a:gd name="T44" fmla="*/ 0 w 62"/>
                <a:gd name="T45" fmla="*/ 74 h 79"/>
                <a:gd name="T46" fmla="*/ 0 w 62"/>
                <a:gd name="T47" fmla="*/ 79 h 79"/>
                <a:gd name="T48" fmla="*/ 61 w 62"/>
                <a:gd name="T49" fmla="*/ 79 h 79"/>
                <a:gd name="T50" fmla="*/ 62 w 62"/>
                <a:gd name="T51" fmla="*/ 59 h 79"/>
                <a:gd name="T52" fmla="*/ 58 w 62"/>
                <a:gd name="T53" fmla="*/ 59 h 79"/>
                <a:gd name="T54" fmla="*/ 46 w 62"/>
                <a:gd name="T55" fmla="*/ 7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2" h="79">
                  <a:moveTo>
                    <a:pt x="46" y="72"/>
                  </a:moveTo>
                  <a:cubicBezTo>
                    <a:pt x="29" y="72"/>
                    <a:pt x="29" y="72"/>
                    <a:pt x="29" y="72"/>
                  </a:cubicBezTo>
                  <a:cubicBezTo>
                    <a:pt x="26" y="72"/>
                    <a:pt x="25" y="70"/>
                    <a:pt x="25" y="65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47" y="42"/>
                    <a:pt x="50" y="45"/>
                    <a:pt x="50" y="51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33"/>
                    <a:pt x="47" y="36"/>
                    <a:pt x="42" y="35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52" y="7"/>
                    <a:pt x="54" y="10"/>
                    <a:pt x="55" y="18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9" y="5"/>
                    <a:pt x="12" y="8"/>
                    <a:pt x="11" y="14"/>
                  </a:cubicBezTo>
                  <a:cubicBezTo>
                    <a:pt x="11" y="65"/>
                    <a:pt x="11" y="65"/>
                    <a:pt x="11" y="65"/>
                  </a:cubicBezTo>
                  <a:cubicBezTo>
                    <a:pt x="12" y="71"/>
                    <a:pt x="9" y="74"/>
                    <a:pt x="4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57" y="68"/>
                    <a:pt x="53" y="72"/>
                    <a:pt x="46" y="72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58" name="íṧļïde"/>
            <p:cNvSpPr/>
            <p:nvPr userDrawn="1"/>
          </p:nvSpPr>
          <p:spPr bwMode="auto">
            <a:xfrm>
              <a:off x="6470650" y="3914775"/>
              <a:ext cx="211138" cy="215900"/>
            </a:xfrm>
            <a:custGeom>
              <a:avLst/>
              <a:gdLst>
                <a:gd name="T0" fmla="*/ 65 w 79"/>
                <a:gd name="T1" fmla="*/ 69 h 81"/>
                <a:gd name="T2" fmla="*/ 57 w 79"/>
                <a:gd name="T3" fmla="*/ 57 h 81"/>
                <a:gd name="T4" fmla="*/ 48 w 79"/>
                <a:gd name="T5" fmla="*/ 44 h 81"/>
                <a:gd name="T6" fmla="*/ 63 w 79"/>
                <a:gd name="T7" fmla="*/ 23 h 81"/>
                <a:gd name="T8" fmla="*/ 58 w 79"/>
                <a:gd name="T9" fmla="*/ 9 h 81"/>
                <a:gd name="T10" fmla="*/ 30 w 79"/>
                <a:gd name="T11" fmla="*/ 0 h 81"/>
                <a:gd name="T12" fmla="*/ 13 w 79"/>
                <a:gd name="T13" fmla="*/ 1 h 81"/>
                <a:gd name="T14" fmla="*/ 3 w 79"/>
                <a:gd name="T15" fmla="*/ 2 h 81"/>
                <a:gd name="T16" fmla="*/ 0 w 79"/>
                <a:gd name="T17" fmla="*/ 2 h 81"/>
                <a:gd name="T18" fmla="*/ 0 w 79"/>
                <a:gd name="T19" fmla="*/ 7 h 81"/>
                <a:gd name="T20" fmla="*/ 2 w 79"/>
                <a:gd name="T21" fmla="*/ 7 h 81"/>
                <a:gd name="T22" fmla="*/ 10 w 79"/>
                <a:gd name="T23" fmla="*/ 17 h 81"/>
                <a:gd name="T24" fmla="*/ 10 w 79"/>
                <a:gd name="T25" fmla="*/ 66 h 81"/>
                <a:gd name="T26" fmla="*/ 2 w 79"/>
                <a:gd name="T27" fmla="*/ 76 h 81"/>
                <a:gd name="T28" fmla="*/ 0 w 79"/>
                <a:gd name="T29" fmla="*/ 76 h 81"/>
                <a:gd name="T30" fmla="*/ 0 w 79"/>
                <a:gd name="T31" fmla="*/ 81 h 81"/>
                <a:gd name="T32" fmla="*/ 35 w 79"/>
                <a:gd name="T33" fmla="*/ 81 h 81"/>
                <a:gd name="T34" fmla="*/ 35 w 79"/>
                <a:gd name="T35" fmla="*/ 76 h 81"/>
                <a:gd name="T36" fmla="*/ 32 w 79"/>
                <a:gd name="T37" fmla="*/ 76 h 81"/>
                <a:gd name="T38" fmla="*/ 24 w 79"/>
                <a:gd name="T39" fmla="*/ 66 h 81"/>
                <a:gd name="T40" fmla="*/ 24 w 79"/>
                <a:gd name="T41" fmla="*/ 47 h 81"/>
                <a:gd name="T42" fmla="*/ 32 w 79"/>
                <a:gd name="T43" fmla="*/ 47 h 81"/>
                <a:gd name="T44" fmla="*/ 43 w 79"/>
                <a:gd name="T45" fmla="*/ 63 h 81"/>
                <a:gd name="T46" fmla="*/ 50 w 79"/>
                <a:gd name="T47" fmla="*/ 74 h 81"/>
                <a:gd name="T48" fmla="*/ 58 w 79"/>
                <a:gd name="T49" fmla="*/ 80 h 81"/>
                <a:gd name="T50" fmla="*/ 72 w 79"/>
                <a:gd name="T51" fmla="*/ 81 h 81"/>
                <a:gd name="T52" fmla="*/ 79 w 79"/>
                <a:gd name="T53" fmla="*/ 81 h 81"/>
                <a:gd name="T54" fmla="*/ 79 w 79"/>
                <a:gd name="T55" fmla="*/ 77 h 81"/>
                <a:gd name="T56" fmla="*/ 65 w 79"/>
                <a:gd name="T57" fmla="*/ 69 h 81"/>
                <a:gd name="T58" fmla="*/ 28 w 79"/>
                <a:gd name="T59" fmla="*/ 42 h 81"/>
                <a:gd name="T60" fmla="*/ 24 w 79"/>
                <a:gd name="T61" fmla="*/ 42 h 81"/>
                <a:gd name="T62" fmla="*/ 24 w 79"/>
                <a:gd name="T63" fmla="*/ 6 h 81"/>
                <a:gd name="T64" fmla="*/ 30 w 79"/>
                <a:gd name="T65" fmla="*/ 6 h 81"/>
                <a:gd name="T66" fmla="*/ 48 w 79"/>
                <a:gd name="T67" fmla="*/ 24 h 81"/>
                <a:gd name="T68" fmla="*/ 28 w 79"/>
                <a:gd name="T69" fmla="*/ 4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9" h="81">
                  <a:moveTo>
                    <a:pt x="65" y="69"/>
                  </a:moveTo>
                  <a:cubicBezTo>
                    <a:pt x="63" y="67"/>
                    <a:pt x="60" y="62"/>
                    <a:pt x="57" y="57"/>
                  </a:cubicBezTo>
                  <a:cubicBezTo>
                    <a:pt x="53" y="51"/>
                    <a:pt x="50" y="46"/>
                    <a:pt x="48" y="44"/>
                  </a:cubicBezTo>
                  <a:cubicBezTo>
                    <a:pt x="58" y="40"/>
                    <a:pt x="63" y="34"/>
                    <a:pt x="63" y="23"/>
                  </a:cubicBezTo>
                  <a:cubicBezTo>
                    <a:pt x="63" y="18"/>
                    <a:pt x="61" y="13"/>
                    <a:pt x="58" y="9"/>
                  </a:cubicBezTo>
                  <a:cubicBezTo>
                    <a:pt x="54" y="3"/>
                    <a:pt x="44" y="0"/>
                    <a:pt x="30" y="0"/>
                  </a:cubicBezTo>
                  <a:cubicBezTo>
                    <a:pt x="26" y="0"/>
                    <a:pt x="21" y="1"/>
                    <a:pt x="13" y="1"/>
                  </a:cubicBezTo>
                  <a:cubicBezTo>
                    <a:pt x="11" y="1"/>
                    <a:pt x="8" y="1"/>
                    <a:pt x="3" y="2"/>
                  </a:cubicBezTo>
                  <a:cubicBezTo>
                    <a:pt x="2" y="2"/>
                    <a:pt x="1" y="2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8" y="7"/>
                    <a:pt x="11" y="10"/>
                    <a:pt x="10" y="17"/>
                  </a:cubicBezTo>
                  <a:cubicBezTo>
                    <a:pt x="10" y="66"/>
                    <a:pt x="10" y="66"/>
                    <a:pt x="10" y="66"/>
                  </a:cubicBezTo>
                  <a:cubicBezTo>
                    <a:pt x="11" y="73"/>
                    <a:pt x="8" y="76"/>
                    <a:pt x="2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5" y="81"/>
                    <a:pt x="35" y="81"/>
                    <a:pt x="35" y="81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27" y="76"/>
                    <a:pt x="24" y="72"/>
                    <a:pt x="24" y="66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5" y="50"/>
                    <a:pt x="39" y="55"/>
                    <a:pt x="43" y="63"/>
                  </a:cubicBezTo>
                  <a:cubicBezTo>
                    <a:pt x="47" y="68"/>
                    <a:pt x="49" y="72"/>
                    <a:pt x="50" y="74"/>
                  </a:cubicBezTo>
                  <a:cubicBezTo>
                    <a:pt x="53" y="77"/>
                    <a:pt x="55" y="79"/>
                    <a:pt x="58" y="80"/>
                  </a:cubicBezTo>
                  <a:cubicBezTo>
                    <a:pt x="62" y="81"/>
                    <a:pt x="66" y="81"/>
                    <a:pt x="72" y="81"/>
                  </a:cubicBezTo>
                  <a:cubicBezTo>
                    <a:pt x="75" y="81"/>
                    <a:pt x="77" y="81"/>
                    <a:pt x="79" y="81"/>
                  </a:cubicBezTo>
                  <a:cubicBezTo>
                    <a:pt x="79" y="77"/>
                    <a:pt x="79" y="77"/>
                    <a:pt x="79" y="77"/>
                  </a:cubicBezTo>
                  <a:cubicBezTo>
                    <a:pt x="73" y="77"/>
                    <a:pt x="69" y="74"/>
                    <a:pt x="65" y="69"/>
                  </a:cubicBezTo>
                  <a:close/>
                  <a:moveTo>
                    <a:pt x="28" y="42"/>
                  </a:moveTo>
                  <a:cubicBezTo>
                    <a:pt x="24" y="42"/>
                    <a:pt x="24" y="42"/>
                    <a:pt x="24" y="42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42" y="6"/>
                    <a:pt x="47" y="12"/>
                    <a:pt x="48" y="24"/>
                  </a:cubicBezTo>
                  <a:cubicBezTo>
                    <a:pt x="48" y="36"/>
                    <a:pt x="42" y="42"/>
                    <a:pt x="28" y="42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59" name="ïsḷîḋè"/>
            <p:cNvSpPr/>
            <p:nvPr userDrawn="1"/>
          </p:nvSpPr>
          <p:spPr bwMode="auto">
            <a:xfrm>
              <a:off x="6710363" y="3914775"/>
              <a:ext cx="122238" cy="219075"/>
            </a:xfrm>
            <a:custGeom>
              <a:avLst/>
              <a:gdLst>
                <a:gd name="T0" fmla="*/ 25 w 46"/>
                <a:gd name="T1" fmla="*/ 29 h 82"/>
                <a:gd name="T2" fmla="*/ 12 w 46"/>
                <a:gd name="T3" fmla="*/ 15 h 82"/>
                <a:gd name="T4" fmla="*/ 22 w 46"/>
                <a:gd name="T5" fmla="*/ 6 h 82"/>
                <a:gd name="T6" fmla="*/ 39 w 46"/>
                <a:gd name="T7" fmla="*/ 22 h 82"/>
                <a:gd name="T8" fmla="*/ 43 w 46"/>
                <a:gd name="T9" fmla="*/ 22 h 82"/>
                <a:gd name="T10" fmla="*/ 41 w 46"/>
                <a:gd name="T11" fmla="*/ 2 h 82"/>
                <a:gd name="T12" fmla="*/ 39 w 46"/>
                <a:gd name="T13" fmla="*/ 2 h 82"/>
                <a:gd name="T14" fmla="*/ 38 w 46"/>
                <a:gd name="T15" fmla="*/ 3 h 82"/>
                <a:gd name="T16" fmla="*/ 36 w 46"/>
                <a:gd name="T17" fmla="*/ 4 h 82"/>
                <a:gd name="T18" fmla="*/ 34 w 46"/>
                <a:gd name="T19" fmla="*/ 3 h 82"/>
                <a:gd name="T20" fmla="*/ 21 w 46"/>
                <a:gd name="T21" fmla="*/ 0 h 82"/>
                <a:gd name="T22" fmla="*/ 0 w 46"/>
                <a:gd name="T23" fmla="*/ 21 h 82"/>
                <a:gd name="T24" fmla="*/ 18 w 46"/>
                <a:gd name="T25" fmla="*/ 46 h 82"/>
                <a:gd name="T26" fmla="*/ 33 w 46"/>
                <a:gd name="T27" fmla="*/ 64 h 82"/>
                <a:gd name="T28" fmla="*/ 21 w 46"/>
                <a:gd name="T29" fmla="*/ 76 h 82"/>
                <a:gd name="T30" fmla="*/ 4 w 46"/>
                <a:gd name="T31" fmla="*/ 57 h 82"/>
                <a:gd name="T32" fmla="*/ 0 w 46"/>
                <a:gd name="T33" fmla="*/ 57 h 82"/>
                <a:gd name="T34" fmla="*/ 2 w 46"/>
                <a:gd name="T35" fmla="*/ 80 h 82"/>
                <a:gd name="T36" fmla="*/ 5 w 46"/>
                <a:gd name="T37" fmla="*/ 80 h 82"/>
                <a:gd name="T38" fmla="*/ 7 w 46"/>
                <a:gd name="T39" fmla="*/ 78 h 82"/>
                <a:gd name="T40" fmla="*/ 11 w 46"/>
                <a:gd name="T41" fmla="*/ 79 h 82"/>
                <a:gd name="T42" fmla="*/ 25 w 46"/>
                <a:gd name="T43" fmla="*/ 82 h 82"/>
                <a:gd name="T44" fmla="*/ 46 w 46"/>
                <a:gd name="T45" fmla="*/ 59 h 82"/>
                <a:gd name="T46" fmla="*/ 40 w 46"/>
                <a:gd name="T47" fmla="*/ 42 h 82"/>
                <a:gd name="T48" fmla="*/ 25 w 46"/>
                <a:gd name="T49" fmla="*/ 2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6" h="82">
                  <a:moveTo>
                    <a:pt x="25" y="29"/>
                  </a:moveTo>
                  <a:cubicBezTo>
                    <a:pt x="16" y="24"/>
                    <a:pt x="12" y="19"/>
                    <a:pt x="12" y="15"/>
                  </a:cubicBezTo>
                  <a:cubicBezTo>
                    <a:pt x="13" y="9"/>
                    <a:pt x="16" y="6"/>
                    <a:pt x="22" y="6"/>
                  </a:cubicBezTo>
                  <a:cubicBezTo>
                    <a:pt x="30" y="6"/>
                    <a:pt x="36" y="12"/>
                    <a:pt x="39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7" y="4"/>
                    <a:pt x="36" y="4"/>
                  </a:cubicBezTo>
                  <a:cubicBezTo>
                    <a:pt x="36" y="4"/>
                    <a:pt x="35" y="3"/>
                    <a:pt x="34" y="3"/>
                  </a:cubicBezTo>
                  <a:cubicBezTo>
                    <a:pt x="29" y="1"/>
                    <a:pt x="25" y="0"/>
                    <a:pt x="21" y="0"/>
                  </a:cubicBezTo>
                  <a:cubicBezTo>
                    <a:pt x="8" y="1"/>
                    <a:pt x="1" y="8"/>
                    <a:pt x="0" y="21"/>
                  </a:cubicBezTo>
                  <a:cubicBezTo>
                    <a:pt x="2" y="33"/>
                    <a:pt x="8" y="41"/>
                    <a:pt x="18" y="46"/>
                  </a:cubicBezTo>
                  <a:cubicBezTo>
                    <a:pt x="27" y="50"/>
                    <a:pt x="32" y="56"/>
                    <a:pt x="33" y="64"/>
                  </a:cubicBezTo>
                  <a:cubicBezTo>
                    <a:pt x="32" y="72"/>
                    <a:pt x="28" y="76"/>
                    <a:pt x="21" y="76"/>
                  </a:cubicBezTo>
                  <a:cubicBezTo>
                    <a:pt x="13" y="76"/>
                    <a:pt x="7" y="70"/>
                    <a:pt x="4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6" y="79"/>
                    <a:pt x="6" y="78"/>
                    <a:pt x="7" y="78"/>
                  </a:cubicBezTo>
                  <a:cubicBezTo>
                    <a:pt x="8" y="78"/>
                    <a:pt x="9" y="78"/>
                    <a:pt x="11" y="79"/>
                  </a:cubicBezTo>
                  <a:cubicBezTo>
                    <a:pt x="16" y="81"/>
                    <a:pt x="21" y="82"/>
                    <a:pt x="25" y="82"/>
                  </a:cubicBezTo>
                  <a:cubicBezTo>
                    <a:pt x="38" y="81"/>
                    <a:pt x="45" y="73"/>
                    <a:pt x="46" y="59"/>
                  </a:cubicBezTo>
                  <a:cubicBezTo>
                    <a:pt x="46" y="53"/>
                    <a:pt x="44" y="47"/>
                    <a:pt x="40" y="42"/>
                  </a:cubicBezTo>
                  <a:cubicBezTo>
                    <a:pt x="37" y="38"/>
                    <a:pt x="32" y="34"/>
                    <a:pt x="25" y="29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60" name="îśliḋê"/>
            <p:cNvSpPr/>
            <p:nvPr userDrawn="1"/>
          </p:nvSpPr>
          <p:spPr bwMode="auto">
            <a:xfrm>
              <a:off x="6870700" y="3919538"/>
              <a:ext cx="84138" cy="211138"/>
            </a:xfrm>
            <a:custGeom>
              <a:avLst/>
              <a:gdLst>
                <a:gd name="T0" fmla="*/ 0 w 32"/>
                <a:gd name="T1" fmla="*/ 5 h 79"/>
                <a:gd name="T2" fmla="*/ 1 w 32"/>
                <a:gd name="T3" fmla="*/ 5 h 79"/>
                <a:gd name="T4" fmla="*/ 9 w 32"/>
                <a:gd name="T5" fmla="*/ 15 h 79"/>
                <a:gd name="T6" fmla="*/ 9 w 32"/>
                <a:gd name="T7" fmla="*/ 65 h 79"/>
                <a:gd name="T8" fmla="*/ 1 w 32"/>
                <a:gd name="T9" fmla="*/ 74 h 79"/>
                <a:gd name="T10" fmla="*/ 0 w 32"/>
                <a:gd name="T11" fmla="*/ 74 h 79"/>
                <a:gd name="T12" fmla="*/ 0 w 32"/>
                <a:gd name="T13" fmla="*/ 79 h 79"/>
                <a:gd name="T14" fmla="*/ 32 w 32"/>
                <a:gd name="T15" fmla="*/ 79 h 79"/>
                <a:gd name="T16" fmla="*/ 32 w 32"/>
                <a:gd name="T17" fmla="*/ 74 h 79"/>
                <a:gd name="T18" fmla="*/ 31 w 32"/>
                <a:gd name="T19" fmla="*/ 74 h 79"/>
                <a:gd name="T20" fmla="*/ 23 w 32"/>
                <a:gd name="T21" fmla="*/ 64 h 79"/>
                <a:gd name="T22" fmla="*/ 23 w 32"/>
                <a:gd name="T23" fmla="*/ 15 h 79"/>
                <a:gd name="T24" fmla="*/ 31 w 32"/>
                <a:gd name="T25" fmla="*/ 5 h 79"/>
                <a:gd name="T26" fmla="*/ 32 w 32"/>
                <a:gd name="T27" fmla="*/ 5 h 79"/>
                <a:gd name="T28" fmla="*/ 32 w 32"/>
                <a:gd name="T29" fmla="*/ 0 h 79"/>
                <a:gd name="T30" fmla="*/ 0 w 32"/>
                <a:gd name="T31" fmla="*/ 0 h 79"/>
                <a:gd name="T32" fmla="*/ 0 w 32"/>
                <a:gd name="T33" fmla="*/ 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0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7" y="5"/>
                    <a:pt x="9" y="8"/>
                    <a:pt x="9" y="15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9" y="71"/>
                    <a:pt x="7" y="74"/>
                    <a:pt x="1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25" y="74"/>
                    <a:pt x="23" y="71"/>
                    <a:pt x="23" y="64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8"/>
                    <a:pt x="26" y="5"/>
                    <a:pt x="31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61" name="íṧļiḋê"/>
            <p:cNvSpPr/>
            <p:nvPr userDrawn="1"/>
          </p:nvSpPr>
          <p:spPr bwMode="auto">
            <a:xfrm>
              <a:off x="6988175" y="3914775"/>
              <a:ext cx="182563" cy="215900"/>
            </a:xfrm>
            <a:custGeom>
              <a:avLst/>
              <a:gdLst>
                <a:gd name="T0" fmla="*/ 64 w 69"/>
                <a:gd name="T1" fmla="*/ 0 h 81"/>
                <a:gd name="T2" fmla="*/ 59 w 69"/>
                <a:gd name="T3" fmla="*/ 2 h 81"/>
                <a:gd name="T4" fmla="*/ 10 w 69"/>
                <a:gd name="T5" fmla="*/ 2 h 81"/>
                <a:gd name="T6" fmla="*/ 8 w 69"/>
                <a:gd name="T7" fmla="*/ 2 h 81"/>
                <a:gd name="T8" fmla="*/ 6 w 69"/>
                <a:gd name="T9" fmla="*/ 0 h 81"/>
                <a:gd name="T10" fmla="*/ 2 w 69"/>
                <a:gd name="T11" fmla="*/ 0 h 81"/>
                <a:gd name="T12" fmla="*/ 0 w 69"/>
                <a:gd name="T13" fmla="*/ 23 h 81"/>
                <a:gd name="T14" fmla="*/ 5 w 69"/>
                <a:gd name="T15" fmla="*/ 23 h 81"/>
                <a:gd name="T16" fmla="*/ 8 w 69"/>
                <a:gd name="T17" fmla="*/ 11 h 81"/>
                <a:gd name="T18" fmla="*/ 16 w 69"/>
                <a:gd name="T19" fmla="*/ 9 h 81"/>
                <a:gd name="T20" fmla="*/ 28 w 69"/>
                <a:gd name="T21" fmla="*/ 9 h 81"/>
                <a:gd name="T22" fmla="*/ 28 w 69"/>
                <a:gd name="T23" fmla="*/ 66 h 81"/>
                <a:gd name="T24" fmla="*/ 20 w 69"/>
                <a:gd name="T25" fmla="*/ 76 h 81"/>
                <a:gd name="T26" fmla="*/ 16 w 69"/>
                <a:gd name="T27" fmla="*/ 76 h 81"/>
                <a:gd name="T28" fmla="*/ 16 w 69"/>
                <a:gd name="T29" fmla="*/ 81 h 81"/>
                <a:gd name="T30" fmla="*/ 53 w 69"/>
                <a:gd name="T31" fmla="*/ 81 h 81"/>
                <a:gd name="T32" fmla="*/ 53 w 69"/>
                <a:gd name="T33" fmla="*/ 76 h 81"/>
                <a:gd name="T34" fmla="*/ 50 w 69"/>
                <a:gd name="T35" fmla="*/ 76 h 81"/>
                <a:gd name="T36" fmla="*/ 42 w 69"/>
                <a:gd name="T37" fmla="*/ 66 h 81"/>
                <a:gd name="T38" fmla="*/ 42 w 69"/>
                <a:gd name="T39" fmla="*/ 9 h 81"/>
                <a:gd name="T40" fmla="*/ 54 w 69"/>
                <a:gd name="T41" fmla="*/ 9 h 81"/>
                <a:gd name="T42" fmla="*/ 62 w 69"/>
                <a:gd name="T43" fmla="*/ 11 h 81"/>
                <a:gd name="T44" fmla="*/ 65 w 69"/>
                <a:gd name="T45" fmla="*/ 23 h 81"/>
                <a:gd name="T46" fmla="*/ 69 w 69"/>
                <a:gd name="T47" fmla="*/ 23 h 81"/>
                <a:gd name="T48" fmla="*/ 67 w 69"/>
                <a:gd name="T49" fmla="*/ 0 h 81"/>
                <a:gd name="T50" fmla="*/ 64 w 69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9" h="81">
                  <a:moveTo>
                    <a:pt x="64" y="0"/>
                  </a:moveTo>
                  <a:cubicBezTo>
                    <a:pt x="63" y="2"/>
                    <a:pt x="61" y="3"/>
                    <a:pt x="59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8" y="2"/>
                    <a:pt x="8" y="2"/>
                  </a:cubicBezTo>
                  <a:cubicBezTo>
                    <a:pt x="7" y="1"/>
                    <a:pt x="6" y="1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6" y="17"/>
                    <a:pt x="7" y="12"/>
                    <a:pt x="8" y="11"/>
                  </a:cubicBezTo>
                  <a:cubicBezTo>
                    <a:pt x="9" y="9"/>
                    <a:pt x="12" y="9"/>
                    <a:pt x="16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72"/>
                    <a:pt x="25" y="76"/>
                    <a:pt x="20" y="76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44" y="76"/>
                    <a:pt x="41" y="73"/>
                    <a:pt x="42" y="66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8" y="9"/>
                    <a:pt x="61" y="9"/>
                    <a:pt x="62" y="11"/>
                  </a:cubicBezTo>
                  <a:cubicBezTo>
                    <a:pt x="63" y="12"/>
                    <a:pt x="64" y="17"/>
                    <a:pt x="65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7" y="0"/>
                    <a:pt x="67" y="0"/>
                    <a:pt x="67" y="0"/>
                  </a:cubicBezTo>
                  <a:lnTo>
                    <a:pt x="64" y="0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62" name="ïSlïḍè"/>
            <p:cNvSpPr/>
            <p:nvPr userDrawn="1"/>
          </p:nvSpPr>
          <p:spPr bwMode="auto">
            <a:xfrm>
              <a:off x="7197725" y="3919538"/>
              <a:ext cx="200025" cy="211138"/>
            </a:xfrm>
            <a:custGeom>
              <a:avLst/>
              <a:gdLst>
                <a:gd name="T0" fmla="*/ 51 w 75"/>
                <a:gd name="T1" fmla="*/ 5 h 79"/>
                <a:gd name="T2" fmla="*/ 52 w 75"/>
                <a:gd name="T3" fmla="*/ 5 h 79"/>
                <a:gd name="T4" fmla="*/ 57 w 75"/>
                <a:gd name="T5" fmla="*/ 8 h 79"/>
                <a:gd name="T6" fmla="*/ 56 w 75"/>
                <a:gd name="T7" fmla="*/ 15 h 79"/>
                <a:gd name="T8" fmla="*/ 44 w 75"/>
                <a:gd name="T9" fmla="*/ 38 h 79"/>
                <a:gd name="T10" fmla="*/ 28 w 75"/>
                <a:gd name="T11" fmla="*/ 12 h 79"/>
                <a:gd name="T12" fmla="*/ 27 w 75"/>
                <a:gd name="T13" fmla="*/ 7 h 79"/>
                <a:gd name="T14" fmla="*/ 32 w 75"/>
                <a:gd name="T15" fmla="*/ 5 h 79"/>
                <a:gd name="T16" fmla="*/ 33 w 75"/>
                <a:gd name="T17" fmla="*/ 5 h 79"/>
                <a:gd name="T18" fmla="*/ 33 w 75"/>
                <a:gd name="T19" fmla="*/ 0 h 79"/>
                <a:gd name="T20" fmla="*/ 0 w 75"/>
                <a:gd name="T21" fmla="*/ 0 h 79"/>
                <a:gd name="T22" fmla="*/ 0 w 75"/>
                <a:gd name="T23" fmla="*/ 5 h 79"/>
                <a:gd name="T24" fmla="*/ 1 w 75"/>
                <a:gd name="T25" fmla="*/ 5 h 79"/>
                <a:gd name="T26" fmla="*/ 6 w 75"/>
                <a:gd name="T27" fmla="*/ 6 h 79"/>
                <a:gd name="T28" fmla="*/ 10 w 75"/>
                <a:gd name="T29" fmla="*/ 11 h 79"/>
                <a:gd name="T30" fmla="*/ 32 w 75"/>
                <a:gd name="T31" fmla="*/ 47 h 79"/>
                <a:gd name="T32" fmla="*/ 32 w 75"/>
                <a:gd name="T33" fmla="*/ 65 h 79"/>
                <a:gd name="T34" fmla="*/ 24 w 75"/>
                <a:gd name="T35" fmla="*/ 74 h 79"/>
                <a:gd name="T36" fmla="*/ 22 w 75"/>
                <a:gd name="T37" fmla="*/ 74 h 79"/>
                <a:gd name="T38" fmla="*/ 22 w 75"/>
                <a:gd name="T39" fmla="*/ 79 h 79"/>
                <a:gd name="T40" fmla="*/ 57 w 75"/>
                <a:gd name="T41" fmla="*/ 79 h 79"/>
                <a:gd name="T42" fmla="*/ 57 w 75"/>
                <a:gd name="T43" fmla="*/ 74 h 79"/>
                <a:gd name="T44" fmla="*/ 55 w 75"/>
                <a:gd name="T45" fmla="*/ 74 h 79"/>
                <a:gd name="T46" fmla="*/ 46 w 75"/>
                <a:gd name="T47" fmla="*/ 64 h 79"/>
                <a:gd name="T48" fmla="*/ 46 w 75"/>
                <a:gd name="T49" fmla="*/ 47 h 79"/>
                <a:gd name="T50" fmla="*/ 63 w 75"/>
                <a:gd name="T51" fmla="*/ 14 h 79"/>
                <a:gd name="T52" fmla="*/ 68 w 75"/>
                <a:gd name="T53" fmla="*/ 7 h 79"/>
                <a:gd name="T54" fmla="*/ 75 w 75"/>
                <a:gd name="T55" fmla="*/ 5 h 79"/>
                <a:gd name="T56" fmla="*/ 75 w 75"/>
                <a:gd name="T57" fmla="*/ 0 h 79"/>
                <a:gd name="T58" fmla="*/ 51 w 75"/>
                <a:gd name="T59" fmla="*/ 0 h 79"/>
                <a:gd name="T60" fmla="*/ 51 w 75"/>
                <a:gd name="T61" fmla="*/ 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5" h="79">
                  <a:moveTo>
                    <a:pt x="51" y="5"/>
                  </a:moveTo>
                  <a:cubicBezTo>
                    <a:pt x="52" y="5"/>
                    <a:pt x="52" y="5"/>
                    <a:pt x="52" y="5"/>
                  </a:cubicBezTo>
                  <a:cubicBezTo>
                    <a:pt x="55" y="5"/>
                    <a:pt x="57" y="6"/>
                    <a:pt x="57" y="8"/>
                  </a:cubicBezTo>
                  <a:cubicBezTo>
                    <a:pt x="58" y="9"/>
                    <a:pt x="57" y="12"/>
                    <a:pt x="56" y="15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6" y="10"/>
                    <a:pt x="26" y="8"/>
                    <a:pt x="27" y="7"/>
                  </a:cubicBezTo>
                  <a:cubicBezTo>
                    <a:pt x="28" y="6"/>
                    <a:pt x="29" y="5"/>
                    <a:pt x="32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4" y="5"/>
                    <a:pt x="5" y="6"/>
                    <a:pt x="6" y="6"/>
                  </a:cubicBezTo>
                  <a:cubicBezTo>
                    <a:pt x="8" y="7"/>
                    <a:pt x="9" y="8"/>
                    <a:pt x="10" y="11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32" y="71"/>
                    <a:pt x="30" y="74"/>
                    <a:pt x="24" y="74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22" y="79"/>
                    <a:pt x="22" y="79"/>
                    <a:pt x="22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49" y="74"/>
                    <a:pt x="46" y="71"/>
                    <a:pt x="46" y="64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63" y="14"/>
                    <a:pt x="63" y="14"/>
                    <a:pt x="63" y="14"/>
                  </a:cubicBezTo>
                  <a:cubicBezTo>
                    <a:pt x="65" y="10"/>
                    <a:pt x="67" y="8"/>
                    <a:pt x="68" y="7"/>
                  </a:cubicBezTo>
                  <a:cubicBezTo>
                    <a:pt x="70" y="6"/>
                    <a:pt x="72" y="6"/>
                    <a:pt x="75" y="5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51" y="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63" name="î$ḷîďê"/>
            <p:cNvSpPr/>
            <p:nvPr userDrawn="1"/>
          </p:nvSpPr>
          <p:spPr bwMode="auto">
            <a:xfrm>
              <a:off x="7504113" y="3914775"/>
              <a:ext cx="198438" cy="219075"/>
            </a:xfrm>
            <a:custGeom>
              <a:avLst/>
              <a:gdLst>
                <a:gd name="T0" fmla="*/ 39 w 75"/>
                <a:gd name="T1" fmla="*/ 0 h 82"/>
                <a:gd name="T2" fmla="*/ 0 w 75"/>
                <a:gd name="T3" fmla="*/ 43 h 82"/>
                <a:gd name="T4" fmla="*/ 37 w 75"/>
                <a:gd name="T5" fmla="*/ 82 h 82"/>
                <a:gd name="T6" fmla="*/ 75 w 75"/>
                <a:gd name="T7" fmla="*/ 40 h 82"/>
                <a:gd name="T8" fmla="*/ 39 w 75"/>
                <a:gd name="T9" fmla="*/ 0 h 82"/>
                <a:gd name="T10" fmla="*/ 39 w 75"/>
                <a:gd name="T11" fmla="*/ 77 h 82"/>
                <a:gd name="T12" fmla="*/ 15 w 75"/>
                <a:gd name="T13" fmla="*/ 37 h 82"/>
                <a:gd name="T14" fmla="*/ 36 w 75"/>
                <a:gd name="T15" fmla="*/ 5 h 82"/>
                <a:gd name="T16" fmla="*/ 60 w 75"/>
                <a:gd name="T17" fmla="*/ 45 h 82"/>
                <a:gd name="T18" fmla="*/ 39 w 75"/>
                <a:gd name="T19" fmla="*/ 7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82">
                  <a:moveTo>
                    <a:pt x="39" y="0"/>
                  </a:moveTo>
                  <a:cubicBezTo>
                    <a:pt x="14" y="1"/>
                    <a:pt x="1" y="16"/>
                    <a:pt x="0" y="43"/>
                  </a:cubicBezTo>
                  <a:cubicBezTo>
                    <a:pt x="1" y="67"/>
                    <a:pt x="14" y="80"/>
                    <a:pt x="37" y="82"/>
                  </a:cubicBezTo>
                  <a:cubicBezTo>
                    <a:pt x="61" y="81"/>
                    <a:pt x="73" y="67"/>
                    <a:pt x="75" y="40"/>
                  </a:cubicBezTo>
                  <a:cubicBezTo>
                    <a:pt x="74" y="15"/>
                    <a:pt x="62" y="1"/>
                    <a:pt x="39" y="0"/>
                  </a:cubicBezTo>
                  <a:close/>
                  <a:moveTo>
                    <a:pt x="39" y="77"/>
                  </a:moveTo>
                  <a:cubicBezTo>
                    <a:pt x="24" y="75"/>
                    <a:pt x="15" y="62"/>
                    <a:pt x="15" y="37"/>
                  </a:cubicBezTo>
                  <a:cubicBezTo>
                    <a:pt x="15" y="17"/>
                    <a:pt x="23" y="6"/>
                    <a:pt x="36" y="5"/>
                  </a:cubicBezTo>
                  <a:cubicBezTo>
                    <a:pt x="51" y="7"/>
                    <a:pt x="59" y="20"/>
                    <a:pt x="60" y="45"/>
                  </a:cubicBezTo>
                  <a:cubicBezTo>
                    <a:pt x="59" y="66"/>
                    <a:pt x="52" y="76"/>
                    <a:pt x="39" y="77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64" name="ïŝľidè"/>
            <p:cNvSpPr/>
            <p:nvPr userDrawn="1"/>
          </p:nvSpPr>
          <p:spPr bwMode="auto">
            <a:xfrm>
              <a:off x="7745413" y="3919538"/>
              <a:ext cx="136525" cy="211138"/>
            </a:xfrm>
            <a:custGeom>
              <a:avLst/>
              <a:gdLst>
                <a:gd name="T0" fmla="*/ 0 w 51"/>
                <a:gd name="T1" fmla="*/ 5 h 79"/>
                <a:gd name="T2" fmla="*/ 1 w 51"/>
                <a:gd name="T3" fmla="*/ 5 h 79"/>
                <a:gd name="T4" fmla="*/ 8 w 51"/>
                <a:gd name="T5" fmla="*/ 16 h 79"/>
                <a:gd name="T6" fmla="*/ 8 w 51"/>
                <a:gd name="T7" fmla="*/ 66 h 79"/>
                <a:gd name="T8" fmla="*/ 2 w 51"/>
                <a:gd name="T9" fmla="*/ 74 h 79"/>
                <a:gd name="T10" fmla="*/ 0 w 51"/>
                <a:gd name="T11" fmla="*/ 74 h 79"/>
                <a:gd name="T12" fmla="*/ 0 w 51"/>
                <a:gd name="T13" fmla="*/ 79 h 79"/>
                <a:gd name="T14" fmla="*/ 30 w 51"/>
                <a:gd name="T15" fmla="*/ 79 h 79"/>
                <a:gd name="T16" fmla="*/ 30 w 51"/>
                <a:gd name="T17" fmla="*/ 74 h 79"/>
                <a:gd name="T18" fmla="*/ 28 w 51"/>
                <a:gd name="T19" fmla="*/ 74 h 79"/>
                <a:gd name="T20" fmla="*/ 21 w 51"/>
                <a:gd name="T21" fmla="*/ 63 h 79"/>
                <a:gd name="T22" fmla="*/ 21 w 51"/>
                <a:gd name="T23" fmla="*/ 43 h 79"/>
                <a:gd name="T24" fmla="*/ 37 w 51"/>
                <a:gd name="T25" fmla="*/ 43 h 79"/>
                <a:gd name="T26" fmla="*/ 44 w 51"/>
                <a:gd name="T27" fmla="*/ 51 h 79"/>
                <a:gd name="T28" fmla="*/ 48 w 51"/>
                <a:gd name="T29" fmla="*/ 51 h 79"/>
                <a:gd name="T30" fmla="*/ 48 w 51"/>
                <a:gd name="T31" fmla="*/ 26 h 79"/>
                <a:gd name="T32" fmla="*/ 44 w 51"/>
                <a:gd name="T33" fmla="*/ 26 h 79"/>
                <a:gd name="T34" fmla="*/ 36 w 51"/>
                <a:gd name="T35" fmla="*/ 35 h 79"/>
                <a:gd name="T36" fmla="*/ 21 w 51"/>
                <a:gd name="T37" fmla="*/ 35 h 79"/>
                <a:gd name="T38" fmla="*/ 21 w 51"/>
                <a:gd name="T39" fmla="*/ 7 h 79"/>
                <a:gd name="T40" fmla="*/ 41 w 51"/>
                <a:gd name="T41" fmla="*/ 7 h 79"/>
                <a:gd name="T42" fmla="*/ 48 w 51"/>
                <a:gd name="T43" fmla="*/ 18 h 79"/>
                <a:gd name="T44" fmla="*/ 51 w 51"/>
                <a:gd name="T45" fmla="*/ 18 h 79"/>
                <a:gd name="T46" fmla="*/ 51 w 51"/>
                <a:gd name="T47" fmla="*/ 0 h 79"/>
                <a:gd name="T48" fmla="*/ 0 w 51"/>
                <a:gd name="T49" fmla="*/ 0 h 79"/>
                <a:gd name="T50" fmla="*/ 0 w 51"/>
                <a:gd name="T51" fmla="*/ 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" h="79">
                  <a:moveTo>
                    <a:pt x="0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6" y="4"/>
                    <a:pt x="8" y="8"/>
                    <a:pt x="8" y="16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71"/>
                    <a:pt x="6" y="74"/>
                    <a:pt x="2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30" y="79"/>
                    <a:pt x="30" y="79"/>
                    <a:pt x="30" y="79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3" y="74"/>
                    <a:pt x="21" y="71"/>
                    <a:pt x="21" y="6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42" y="42"/>
                    <a:pt x="45" y="45"/>
                    <a:pt x="44" y="51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5" y="33"/>
                    <a:pt x="42" y="36"/>
                    <a:pt x="36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6" y="7"/>
                    <a:pt x="48" y="10"/>
                    <a:pt x="48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65" name="ïşḷïdè"/>
            <p:cNvSpPr/>
            <p:nvPr userDrawn="1"/>
          </p:nvSpPr>
          <p:spPr bwMode="auto">
            <a:xfrm>
              <a:off x="7993063" y="3914775"/>
              <a:ext cx="160338" cy="215900"/>
            </a:xfrm>
            <a:custGeom>
              <a:avLst/>
              <a:gdLst>
                <a:gd name="T0" fmla="*/ 32 w 60"/>
                <a:gd name="T1" fmla="*/ 0 h 81"/>
                <a:gd name="T2" fmla="*/ 16 w 60"/>
                <a:gd name="T3" fmla="*/ 1 h 81"/>
                <a:gd name="T4" fmla="*/ 0 w 60"/>
                <a:gd name="T5" fmla="*/ 2 h 81"/>
                <a:gd name="T6" fmla="*/ 0 w 60"/>
                <a:gd name="T7" fmla="*/ 7 h 81"/>
                <a:gd name="T8" fmla="*/ 2 w 60"/>
                <a:gd name="T9" fmla="*/ 7 h 81"/>
                <a:gd name="T10" fmla="*/ 9 w 60"/>
                <a:gd name="T11" fmla="*/ 15 h 81"/>
                <a:gd name="T12" fmla="*/ 9 w 60"/>
                <a:gd name="T13" fmla="*/ 68 h 81"/>
                <a:gd name="T14" fmla="*/ 2 w 60"/>
                <a:gd name="T15" fmla="*/ 76 h 81"/>
                <a:gd name="T16" fmla="*/ 0 w 60"/>
                <a:gd name="T17" fmla="*/ 76 h 81"/>
                <a:gd name="T18" fmla="*/ 0 w 60"/>
                <a:gd name="T19" fmla="*/ 81 h 81"/>
                <a:gd name="T20" fmla="*/ 35 w 60"/>
                <a:gd name="T21" fmla="*/ 81 h 81"/>
                <a:gd name="T22" fmla="*/ 35 w 60"/>
                <a:gd name="T23" fmla="*/ 76 h 81"/>
                <a:gd name="T24" fmla="*/ 32 w 60"/>
                <a:gd name="T25" fmla="*/ 76 h 81"/>
                <a:gd name="T26" fmla="*/ 23 w 60"/>
                <a:gd name="T27" fmla="*/ 66 h 81"/>
                <a:gd name="T28" fmla="*/ 23 w 60"/>
                <a:gd name="T29" fmla="*/ 48 h 81"/>
                <a:gd name="T30" fmla="*/ 28 w 60"/>
                <a:gd name="T31" fmla="*/ 49 h 81"/>
                <a:gd name="T32" fmla="*/ 35 w 60"/>
                <a:gd name="T33" fmla="*/ 49 h 81"/>
                <a:gd name="T34" fmla="*/ 60 w 60"/>
                <a:gd name="T35" fmla="*/ 25 h 81"/>
                <a:gd name="T36" fmla="*/ 32 w 60"/>
                <a:gd name="T37" fmla="*/ 0 h 81"/>
                <a:gd name="T38" fmla="*/ 30 w 60"/>
                <a:gd name="T39" fmla="*/ 43 h 81"/>
                <a:gd name="T40" fmla="*/ 23 w 60"/>
                <a:gd name="T41" fmla="*/ 42 h 81"/>
                <a:gd name="T42" fmla="*/ 23 w 60"/>
                <a:gd name="T43" fmla="*/ 7 h 81"/>
                <a:gd name="T44" fmla="*/ 30 w 60"/>
                <a:gd name="T45" fmla="*/ 6 h 81"/>
                <a:gd name="T46" fmla="*/ 45 w 60"/>
                <a:gd name="T47" fmla="*/ 24 h 81"/>
                <a:gd name="T48" fmla="*/ 30 w 60"/>
                <a:gd name="T49" fmla="*/ 43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81">
                  <a:moveTo>
                    <a:pt x="32" y="0"/>
                  </a:moveTo>
                  <a:cubicBezTo>
                    <a:pt x="26" y="0"/>
                    <a:pt x="21" y="0"/>
                    <a:pt x="16" y="1"/>
                  </a:cubicBezTo>
                  <a:cubicBezTo>
                    <a:pt x="9" y="1"/>
                    <a:pt x="4" y="2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7" y="7"/>
                    <a:pt x="9" y="9"/>
                    <a:pt x="9" y="15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73"/>
                    <a:pt x="7" y="76"/>
                    <a:pt x="2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5" y="81"/>
                    <a:pt x="35" y="81"/>
                    <a:pt x="35" y="81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25" y="76"/>
                    <a:pt x="22" y="73"/>
                    <a:pt x="23" y="66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5" y="48"/>
                    <a:pt x="26" y="48"/>
                    <a:pt x="28" y="49"/>
                  </a:cubicBezTo>
                  <a:cubicBezTo>
                    <a:pt x="29" y="49"/>
                    <a:pt x="32" y="49"/>
                    <a:pt x="35" y="49"/>
                  </a:cubicBezTo>
                  <a:cubicBezTo>
                    <a:pt x="51" y="48"/>
                    <a:pt x="59" y="40"/>
                    <a:pt x="60" y="25"/>
                  </a:cubicBezTo>
                  <a:cubicBezTo>
                    <a:pt x="59" y="9"/>
                    <a:pt x="50" y="1"/>
                    <a:pt x="32" y="0"/>
                  </a:cubicBezTo>
                  <a:close/>
                  <a:moveTo>
                    <a:pt x="30" y="43"/>
                  </a:moveTo>
                  <a:cubicBezTo>
                    <a:pt x="28" y="43"/>
                    <a:pt x="25" y="43"/>
                    <a:pt x="23" y="42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5" y="6"/>
                    <a:pt x="28" y="5"/>
                    <a:pt x="30" y="6"/>
                  </a:cubicBezTo>
                  <a:cubicBezTo>
                    <a:pt x="40" y="6"/>
                    <a:pt x="45" y="12"/>
                    <a:pt x="45" y="24"/>
                  </a:cubicBezTo>
                  <a:cubicBezTo>
                    <a:pt x="45" y="36"/>
                    <a:pt x="40" y="43"/>
                    <a:pt x="30" y="43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66" name="ïṩ1ïde"/>
            <p:cNvSpPr/>
            <p:nvPr userDrawn="1"/>
          </p:nvSpPr>
          <p:spPr bwMode="auto">
            <a:xfrm>
              <a:off x="8178800" y="3919538"/>
              <a:ext cx="165100" cy="211138"/>
            </a:xfrm>
            <a:custGeom>
              <a:avLst/>
              <a:gdLst>
                <a:gd name="T0" fmla="*/ 46 w 62"/>
                <a:gd name="T1" fmla="*/ 72 h 79"/>
                <a:gd name="T2" fmla="*/ 29 w 62"/>
                <a:gd name="T3" fmla="*/ 72 h 79"/>
                <a:gd name="T4" fmla="*/ 25 w 62"/>
                <a:gd name="T5" fmla="*/ 65 h 79"/>
                <a:gd name="T6" fmla="*/ 25 w 62"/>
                <a:gd name="T7" fmla="*/ 43 h 79"/>
                <a:gd name="T8" fmla="*/ 40 w 62"/>
                <a:gd name="T9" fmla="*/ 43 h 79"/>
                <a:gd name="T10" fmla="*/ 50 w 62"/>
                <a:gd name="T11" fmla="*/ 51 h 79"/>
                <a:gd name="T12" fmla="*/ 54 w 62"/>
                <a:gd name="T13" fmla="*/ 51 h 79"/>
                <a:gd name="T14" fmla="*/ 54 w 62"/>
                <a:gd name="T15" fmla="*/ 26 h 79"/>
                <a:gd name="T16" fmla="*/ 50 w 62"/>
                <a:gd name="T17" fmla="*/ 26 h 79"/>
                <a:gd name="T18" fmla="*/ 42 w 62"/>
                <a:gd name="T19" fmla="*/ 35 h 79"/>
                <a:gd name="T20" fmla="*/ 25 w 62"/>
                <a:gd name="T21" fmla="*/ 35 h 79"/>
                <a:gd name="T22" fmla="*/ 25 w 62"/>
                <a:gd name="T23" fmla="*/ 7 h 79"/>
                <a:gd name="T24" fmla="*/ 48 w 62"/>
                <a:gd name="T25" fmla="*/ 7 h 79"/>
                <a:gd name="T26" fmla="*/ 55 w 62"/>
                <a:gd name="T27" fmla="*/ 18 h 79"/>
                <a:gd name="T28" fmla="*/ 59 w 62"/>
                <a:gd name="T29" fmla="*/ 18 h 79"/>
                <a:gd name="T30" fmla="*/ 58 w 62"/>
                <a:gd name="T31" fmla="*/ 0 h 79"/>
                <a:gd name="T32" fmla="*/ 1 w 62"/>
                <a:gd name="T33" fmla="*/ 0 h 79"/>
                <a:gd name="T34" fmla="*/ 1 w 62"/>
                <a:gd name="T35" fmla="*/ 5 h 79"/>
                <a:gd name="T36" fmla="*/ 3 w 62"/>
                <a:gd name="T37" fmla="*/ 5 h 79"/>
                <a:gd name="T38" fmla="*/ 11 w 62"/>
                <a:gd name="T39" fmla="*/ 14 h 79"/>
                <a:gd name="T40" fmla="*/ 11 w 62"/>
                <a:gd name="T41" fmla="*/ 65 h 79"/>
                <a:gd name="T42" fmla="*/ 3 w 62"/>
                <a:gd name="T43" fmla="*/ 74 h 79"/>
                <a:gd name="T44" fmla="*/ 0 w 62"/>
                <a:gd name="T45" fmla="*/ 74 h 79"/>
                <a:gd name="T46" fmla="*/ 0 w 62"/>
                <a:gd name="T47" fmla="*/ 79 h 79"/>
                <a:gd name="T48" fmla="*/ 61 w 62"/>
                <a:gd name="T49" fmla="*/ 79 h 79"/>
                <a:gd name="T50" fmla="*/ 62 w 62"/>
                <a:gd name="T51" fmla="*/ 59 h 79"/>
                <a:gd name="T52" fmla="*/ 58 w 62"/>
                <a:gd name="T53" fmla="*/ 59 h 79"/>
                <a:gd name="T54" fmla="*/ 46 w 62"/>
                <a:gd name="T55" fmla="*/ 7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2" h="79">
                  <a:moveTo>
                    <a:pt x="46" y="72"/>
                  </a:moveTo>
                  <a:cubicBezTo>
                    <a:pt x="29" y="72"/>
                    <a:pt x="29" y="72"/>
                    <a:pt x="29" y="72"/>
                  </a:cubicBezTo>
                  <a:cubicBezTo>
                    <a:pt x="26" y="72"/>
                    <a:pt x="25" y="70"/>
                    <a:pt x="25" y="65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47" y="42"/>
                    <a:pt x="50" y="45"/>
                    <a:pt x="50" y="51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33"/>
                    <a:pt x="47" y="36"/>
                    <a:pt x="42" y="35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52" y="7"/>
                    <a:pt x="54" y="10"/>
                    <a:pt x="55" y="18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9" y="5"/>
                    <a:pt x="12" y="8"/>
                    <a:pt x="11" y="14"/>
                  </a:cubicBezTo>
                  <a:cubicBezTo>
                    <a:pt x="11" y="65"/>
                    <a:pt x="11" y="65"/>
                    <a:pt x="11" y="65"/>
                  </a:cubicBezTo>
                  <a:cubicBezTo>
                    <a:pt x="12" y="71"/>
                    <a:pt x="9" y="74"/>
                    <a:pt x="3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57" y="68"/>
                    <a:pt x="53" y="72"/>
                    <a:pt x="46" y="72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67" name="îṡļîde"/>
            <p:cNvSpPr/>
            <p:nvPr userDrawn="1"/>
          </p:nvSpPr>
          <p:spPr bwMode="auto">
            <a:xfrm>
              <a:off x="8378825" y="3914775"/>
              <a:ext cx="180975" cy="215900"/>
            </a:xfrm>
            <a:custGeom>
              <a:avLst/>
              <a:gdLst>
                <a:gd name="T0" fmla="*/ 63 w 68"/>
                <a:gd name="T1" fmla="*/ 0 h 81"/>
                <a:gd name="T2" fmla="*/ 58 w 68"/>
                <a:gd name="T3" fmla="*/ 2 h 81"/>
                <a:gd name="T4" fmla="*/ 10 w 68"/>
                <a:gd name="T5" fmla="*/ 2 h 81"/>
                <a:gd name="T6" fmla="*/ 7 w 68"/>
                <a:gd name="T7" fmla="*/ 2 h 81"/>
                <a:gd name="T8" fmla="*/ 5 w 68"/>
                <a:gd name="T9" fmla="*/ 0 h 81"/>
                <a:gd name="T10" fmla="*/ 2 w 68"/>
                <a:gd name="T11" fmla="*/ 0 h 81"/>
                <a:gd name="T12" fmla="*/ 0 w 68"/>
                <a:gd name="T13" fmla="*/ 23 h 81"/>
                <a:gd name="T14" fmla="*/ 4 w 68"/>
                <a:gd name="T15" fmla="*/ 23 h 81"/>
                <a:gd name="T16" fmla="*/ 7 w 68"/>
                <a:gd name="T17" fmla="*/ 11 h 81"/>
                <a:gd name="T18" fmla="*/ 15 w 68"/>
                <a:gd name="T19" fmla="*/ 9 h 81"/>
                <a:gd name="T20" fmla="*/ 27 w 68"/>
                <a:gd name="T21" fmla="*/ 9 h 81"/>
                <a:gd name="T22" fmla="*/ 27 w 68"/>
                <a:gd name="T23" fmla="*/ 66 h 81"/>
                <a:gd name="T24" fmla="*/ 19 w 68"/>
                <a:gd name="T25" fmla="*/ 76 h 81"/>
                <a:gd name="T26" fmla="*/ 16 w 68"/>
                <a:gd name="T27" fmla="*/ 76 h 81"/>
                <a:gd name="T28" fmla="*/ 16 w 68"/>
                <a:gd name="T29" fmla="*/ 81 h 81"/>
                <a:gd name="T30" fmla="*/ 52 w 68"/>
                <a:gd name="T31" fmla="*/ 81 h 81"/>
                <a:gd name="T32" fmla="*/ 52 w 68"/>
                <a:gd name="T33" fmla="*/ 76 h 81"/>
                <a:gd name="T34" fmla="*/ 50 w 68"/>
                <a:gd name="T35" fmla="*/ 76 h 81"/>
                <a:gd name="T36" fmla="*/ 41 w 68"/>
                <a:gd name="T37" fmla="*/ 66 h 81"/>
                <a:gd name="T38" fmla="*/ 41 w 68"/>
                <a:gd name="T39" fmla="*/ 9 h 81"/>
                <a:gd name="T40" fmla="*/ 53 w 68"/>
                <a:gd name="T41" fmla="*/ 9 h 81"/>
                <a:gd name="T42" fmla="*/ 61 w 68"/>
                <a:gd name="T43" fmla="*/ 11 h 81"/>
                <a:gd name="T44" fmla="*/ 64 w 68"/>
                <a:gd name="T45" fmla="*/ 23 h 81"/>
                <a:gd name="T46" fmla="*/ 68 w 68"/>
                <a:gd name="T47" fmla="*/ 23 h 81"/>
                <a:gd name="T48" fmla="*/ 66 w 68"/>
                <a:gd name="T49" fmla="*/ 0 h 81"/>
                <a:gd name="T50" fmla="*/ 63 w 68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8" h="81">
                  <a:moveTo>
                    <a:pt x="63" y="0"/>
                  </a:moveTo>
                  <a:cubicBezTo>
                    <a:pt x="62" y="2"/>
                    <a:pt x="60" y="3"/>
                    <a:pt x="58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8" y="2"/>
                    <a:pt x="7" y="2"/>
                  </a:cubicBezTo>
                  <a:cubicBezTo>
                    <a:pt x="6" y="1"/>
                    <a:pt x="6" y="1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5" y="17"/>
                    <a:pt x="6" y="12"/>
                    <a:pt x="7" y="11"/>
                  </a:cubicBezTo>
                  <a:cubicBezTo>
                    <a:pt x="8" y="9"/>
                    <a:pt x="11" y="9"/>
                    <a:pt x="15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72"/>
                    <a:pt x="25" y="76"/>
                    <a:pt x="19" y="76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43" y="76"/>
                    <a:pt x="40" y="73"/>
                    <a:pt x="41" y="66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7" y="9"/>
                    <a:pt x="60" y="9"/>
                    <a:pt x="61" y="11"/>
                  </a:cubicBezTo>
                  <a:cubicBezTo>
                    <a:pt x="62" y="12"/>
                    <a:pt x="63" y="17"/>
                    <a:pt x="64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6" y="0"/>
                    <a:pt x="66" y="0"/>
                    <a:pt x="66" y="0"/>
                  </a:cubicBezTo>
                  <a:lnTo>
                    <a:pt x="63" y="0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68" name="ïšļíde"/>
            <p:cNvSpPr/>
            <p:nvPr userDrawn="1"/>
          </p:nvSpPr>
          <p:spPr bwMode="auto">
            <a:xfrm>
              <a:off x="8589963" y="3914775"/>
              <a:ext cx="206375" cy="215900"/>
            </a:xfrm>
            <a:custGeom>
              <a:avLst/>
              <a:gdLst>
                <a:gd name="T0" fmla="*/ 65 w 78"/>
                <a:gd name="T1" fmla="*/ 69 h 81"/>
                <a:gd name="T2" fmla="*/ 57 w 78"/>
                <a:gd name="T3" fmla="*/ 57 h 81"/>
                <a:gd name="T4" fmla="*/ 47 w 78"/>
                <a:gd name="T5" fmla="*/ 44 h 81"/>
                <a:gd name="T6" fmla="*/ 62 w 78"/>
                <a:gd name="T7" fmla="*/ 23 h 81"/>
                <a:gd name="T8" fmla="*/ 58 w 78"/>
                <a:gd name="T9" fmla="*/ 9 h 81"/>
                <a:gd name="T10" fmla="*/ 30 w 78"/>
                <a:gd name="T11" fmla="*/ 0 h 81"/>
                <a:gd name="T12" fmla="*/ 13 w 78"/>
                <a:gd name="T13" fmla="*/ 1 h 81"/>
                <a:gd name="T14" fmla="*/ 2 w 78"/>
                <a:gd name="T15" fmla="*/ 2 h 81"/>
                <a:gd name="T16" fmla="*/ 0 w 78"/>
                <a:gd name="T17" fmla="*/ 2 h 81"/>
                <a:gd name="T18" fmla="*/ 0 w 78"/>
                <a:gd name="T19" fmla="*/ 7 h 81"/>
                <a:gd name="T20" fmla="*/ 2 w 78"/>
                <a:gd name="T21" fmla="*/ 7 h 81"/>
                <a:gd name="T22" fmla="*/ 10 w 78"/>
                <a:gd name="T23" fmla="*/ 17 h 81"/>
                <a:gd name="T24" fmla="*/ 10 w 78"/>
                <a:gd name="T25" fmla="*/ 66 h 81"/>
                <a:gd name="T26" fmla="*/ 1 w 78"/>
                <a:gd name="T27" fmla="*/ 76 h 81"/>
                <a:gd name="T28" fmla="*/ 0 w 78"/>
                <a:gd name="T29" fmla="*/ 76 h 81"/>
                <a:gd name="T30" fmla="*/ 0 w 78"/>
                <a:gd name="T31" fmla="*/ 81 h 81"/>
                <a:gd name="T32" fmla="*/ 35 w 78"/>
                <a:gd name="T33" fmla="*/ 81 h 81"/>
                <a:gd name="T34" fmla="*/ 35 w 78"/>
                <a:gd name="T35" fmla="*/ 76 h 81"/>
                <a:gd name="T36" fmla="*/ 32 w 78"/>
                <a:gd name="T37" fmla="*/ 76 h 81"/>
                <a:gd name="T38" fmla="*/ 24 w 78"/>
                <a:gd name="T39" fmla="*/ 66 h 81"/>
                <a:gd name="T40" fmla="*/ 24 w 78"/>
                <a:gd name="T41" fmla="*/ 47 h 81"/>
                <a:gd name="T42" fmla="*/ 32 w 78"/>
                <a:gd name="T43" fmla="*/ 47 h 81"/>
                <a:gd name="T44" fmla="*/ 43 w 78"/>
                <a:gd name="T45" fmla="*/ 63 h 81"/>
                <a:gd name="T46" fmla="*/ 50 w 78"/>
                <a:gd name="T47" fmla="*/ 74 h 81"/>
                <a:gd name="T48" fmla="*/ 58 w 78"/>
                <a:gd name="T49" fmla="*/ 80 h 81"/>
                <a:gd name="T50" fmla="*/ 72 w 78"/>
                <a:gd name="T51" fmla="*/ 81 h 81"/>
                <a:gd name="T52" fmla="*/ 78 w 78"/>
                <a:gd name="T53" fmla="*/ 81 h 81"/>
                <a:gd name="T54" fmla="*/ 78 w 78"/>
                <a:gd name="T55" fmla="*/ 77 h 81"/>
                <a:gd name="T56" fmla="*/ 65 w 78"/>
                <a:gd name="T57" fmla="*/ 69 h 81"/>
                <a:gd name="T58" fmla="*/ 28 w 78"/>
                <a:gd name="T59" fmla="*/ 42 h 81"/>
                <a:gd name="T60" fmla="*/ 24 w 78"/>
                <a:gd name="T61" fmla="*/ 42 h 81"/>
                <a:gd name="T62" fmla="*/ 24 w 78"/>
                <a:gd name="T63" fmla="*/ 6 h 81"/>
                <a:gd name="T64" fmla="*/ 30 w 78"/>
                <a:gd name="T65" fmla="*/ 6 h 81"/>
                <a:gd name="T66" fmla="*/ 47 w 78"/>
                <a:gd name="T67" fmla="*/ 24 h 81"/>
                <a:gd name="T68" fmla="*/ 28 w 78"/>
                <a:gd name="T69" fmla="*/ 4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8" h="81">
                  <a:moveTo>
                    <a:pt x="65" y="69"/>
                  </a:moveTo>
                  <a:cubicBezTo>
                    <a:pt x="63" y="67"/>
                    <a:pt x="60" y="62"/>
                    <a:pt x="57" y="57"/>
                  </a:cubicBezTo>
                  <a:cubicBezTo>
                    <a:pt x="53" y="51"/>
                    <a:pt x="50" y="46"/>
                    <a:pt x="47" y="44"/>
                  </a:cubicBezTo>
                  <a:cubicBezTo>
                    <a:pt x="57" y="40"/>
                    <a:pt x="62" y="34"/>
                    <a:pt x="62" y="23"/>
                  </a:cubicBezTo>
                  <a:cubicBezTo>
                    <a:pt x="62" y="18"/>
                    <a:pt x="61" y="13"/>
                    <a:pt x="58" y="9"/>
                  </a:cubicBezTo>
                  <a:cubicBezTo>
                    <a:pt x="53" y="3"/>
                    <a:pt x="44" y="0"/>
                    <a:pt x="30" y="0"/>
                  </a:cubicBezTo>
                  <a:cubicBezTo>
                    <a:pt x="26" y="0"/>
                    <a:pt x="20" y="1"/>
                    <a:pt x="13" y="1"/>
                  </a:cubicBezTo>
                  <a:cubicBezTo>
                    <a:pt x="11" y="1"/>
                    <a:pt x="7" y="1"/>
                    <a:pt x="2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8" y="7"/>
                    <a:pt x="11" y="10"/>
                    <a:pt x="10" y="17"/>
                  </a:cubicBezTo>
                  <a:cubicBezTo>
                    <a:pt x="10" y="66"/>
                    <a:pt x="10" y="66"/>
                    <a:pt x="10" y="66"/>
                  </a:cubicBezTo>
                  <a:cubicBezTo>
                    <a:pt x="10" y="73"/>
                    <a:pt x="7" y="76"/>
                    <a:pt x="1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5" y="81"/>
                    <a:pt x="35" y="81"/>
                    <a:pt x="35" y="81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27" y="76"/>
                    <a:pt x="24" y="72"/>
                    <a:pt x="24" y="66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5" y="50"/>
                    <a:pt x="38" y="55"/>
                    <a:pt x="43" y="63"/>
                  </a:cubicBezTo>
                  <a:cubicBezTo>
                    <a:pt x="46" y="68"/>
                    <a:pt x="48" y="72"/>
                    <a:pt x="50" y="74"/>
                  </a:cubicBezTo>
                  <a:cubicBezTo>
                    <a:pt x="52" y="77"/>
                    <a:pt x="55" y="79"/>
                    <a:pt x="58" y="80"/>
                  </a:cubicBezTo>
                  <a:cubicBezTo>
                    <a:pt x="61" y="81"/>
                    <a:pt x="66" y="81"/>
                    <a:pt x="72" y="81"/>
                  </a:cubicBezTo>
                  <a:cubicBezTo>
                    <a:pt x="75" y="81"/>
                    <a:pt x="77" y="81"/>
                    <a:pt x="78" y="81"/>
                  </a:cubicBezTo>
                  <a:cubicBezTo>
                    <a:pt x="78" y="77"/>
                    <a:pt x="78" y="77"/>
                    <a:pt x="78" y="77"/>
                  </a:cubicBezTo>
                  <a:cubicBezTo>
                    <a:pt x="73" y="77"/>
                    <a:pt x="68" y="74"/>
                    <a:pt x="65" y="69"/>
                  </a:cubicBezTo>
                  <a:close/>
                  <a:moveTo>
                    <a:pt x="28" y="42"/>
                  </a:moveTo>
                  <a:cubicBezTo>
                    <a:pt x="24" y="42"/>
                    <a:pt x="24" y="42"/>
                    <a:pt x="24" y="42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41" y="6"/>
                    <a:pt x="47" y="12"/>
                    <a:pt x="47" y="24"/>
                  </a:cubicBezTo>
                  <a:cubicBezTo>
                    <a:pt x="48" y="36"/>
                    <a:pt x="41" y="42"/>
                    <a:pt x="28" y="42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69" name="îsľíḋé"/>
            <p:cNvSpPr/>
            <p:nvPr userDrawn="1"/>
          </p:nvSpPr>
          <p:spPr bwMode="auto">
            <a:xfrm>
              <a:off x="8826500" y="3914775"/>
              <a:ext cx="200025" cy="219075"/>
            </a:xfrm>
            <a:custGeom>
              <a:avLst/>
              <a:gdLst>
                <a:gd name="T0" fmla="*/ 39 w 75"/>
                <a:gd name="T1" fmla="*/ 0 h 82"/>
                <a:gd name="T2" fmla="*/ 0 w 75"/>
                <a:gd name="T3" fmla="*/ 43 h 82"/>
                <a:gd name="T4" fmla="*/ 37 w 75"/>
                <a:gd name="T5" fmla="*/ 82 h 82"/>
                <a:gd name="T6" fmla="*/ 75 w 75"/>
                <a:gd name="T7" fmla="*/ 40 h 82"/>
                <a:gd name="T8" fmla="*/ 39 w 75"/>
                <a:gd name="T9" fmla="*/ 0 h 82"/>
                <a:gd name="T10" fmla="*/ 39 w 75"/>
                <a:gd name="T11" fmla="*/ 77 h 82"/>
                <a:gd name="T12" fmla="*/ 15 w 75"/>
                <a:gd name="T13" fmla="*/ 37 h 82"/>
                <a:gd name="T14" fmla="*/ 36 w 75"/>
                <a:gd name="T15" fmla="*/ 5 h 82"/>
                <a:gd name="T16" fmla="*/ 60 w 75"/>
                <a:gd name="T17" fmla="*/ 45 h 82"/>
                <a:gd name="T18" fmla="*/ 39 w 75"/>
                <a:gd name="T19" fmla="*/ 7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82">
                  <a:moveTo>
                    <a:pt x="39" y="0"/>
                  </a:moveTo>
                  <a:cubicBezTo>
                    <a:pt x="14" y="1"/>
                    <a:pt x="1" y="16"/>
                    <a:pt x="0" y="43"/>
                  </a:cubicBezTo>
                  <a:cubicBezTo>
                    <a:pt x="2" y="67"/>
                    <a:pt x="14" y="80"/>
                    <a:pt x="37" y="82"/>
                  </a:cubicBezTo>
                  <a:cubicBezTo>
                    <a:pt x="61" y="81"/>
                    <a:pt x="74" y="67"/>
                    <a:pt x="75" y="40"/>
                  </a:cubicBezTo>
                  <a:cubicBezTo>
                    <a:pt x="74" y="15"/>
                    <a:pt x="62" y="1"/>
                    <a:pt x="39" y="0"/>
                  </a:cubicBezTo>
                  <a:close/>
                  <a:moveTo>
                    <a:pt x="39" y="77"/>
                  </a:moveTo>
                  <a:cubicBezTo>
                    <a:pt x="24" y="75"/>
                    <a:pt x="16" y="62"/>
                    <a:pt x="15" y="37"/>
                  </a:cubicBezTo>
                  <a:cubicBezTo>
                    <a:pt x="16" y="17"/>
                    <a:pt x="23" y="6"/>
                    <a:pt x="36" y="5"/>
                  </a:cubicBezTo>
                  <a:cubicBezTo>
                    <a:pt x="51" y="7"/>
                    <a:pt x="59" y="20"/>
                    <a:pt x="60" y="45"/>
                  </a:cubicBezTo>
                  <a:cubicBezTo>
                    <a:pt x="59" y="66"/>
                    <a:pt x="52" y="76"/>
                    <a:pt x="39" y="77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70" name="íśḷíḋè"/>
            <p:cNvSpPr/>
            <p:nvPr userDrawn="1"/>
          </p:nvSpPr>
          <p:spPr bwMode="auto">
            <a:xfrm>
              <a:off x="9059863" y="3919538"/>
              <a:ext cx="165100" cy="211138"/>
            </a:xfrm>
            <a:custGeom>
              <a:avLst/>
              <a:gdLst>
                <a:gd name="T0" fmla="*/ 56 w 62"/>
                <a:gd name="T1" fmla="*/ 59 h 79"/>
                <a:gd name="T2" fmla="*/ 43 w 62"/>
                <a:gd name="T3" fmla="*/ 72 h 79"/>
                <a:gd name="T4" fmla="*/ 30 w 62"/>
                <a:gd name="T5" fmla="*/ 72 h 79"/>
                <a:gd name="T6" fmla="*/ 25 w 62"/>
                <a:gd name="T7" fmla="*/ 66 h 79"/>
                <a:gd name="T8" fmla="*/ 25 w 62"/>
                <a:gd name="T9" fmla="*/ 14 h 79"/>
                <a:gd name="T10" fmla="*/ 32 w 62"/>
                <a:gd name="T11" fmla="*/ 5 h 79"/>
                <a:gd name="T12" fmla="*/ 35 w 62"/>
                <a:gd name="T13" fmla="*/ 5 h 79"/>
                <a:gd name="T14" fmla="*/ 35 w 62"/>
                <a:gd name="T15" fmla="*/ 0 h 79"/>
                <a:gd name="T16" fmla="*/ 1 w 62"/>
                <a:gd name="T17" fmla="*/ 0 h 79"/>
                <a:gd name="T18" fmla="*/ 1 w 62"/>
                <a:gd name="T19" fmla="*/ 5 h 79"/>
                <a:gd name="T20" fmla="*/ 3 w 62"/>
                <a:gd name="T21" fmla="*/ 5 h 79"/>
                <a:gd name="T22" fmla="*/ 11 w 62"/>
                <a:gd name="T23" fmla="*/ 14 h 79"/>
                <a:gd name="T24" fmla="*/ 11 w 62"/>
                <a:gd name="T25" fmla="*/ 65 h 79"/>
                <a:gd name="T26" fmla="*/ 2 w 62"/>
                <a:gd name="T27" fmla="*/ 74 h 79"/>
                <a:gd name="T28" fmla="*/ 0 w 62"/>
                <a:gd name="T29" fmla="*/ 74 h 79"/>
                <a:gd name="T30" fmla="*/ 0 w 62"/>
                <a:gd name="T31" fmla="*/ 79 h 79"/>
                <a:gd name="T32" fmla="*/ 55 w 62"/>
                <a:gd name="T33" fmla="*/ 79 h 79"/>
                <a:gd name="T34" fmla="*/ 62 w 62"/>
                <a:gd name="T35" fmla="*/ 56 h 79"/>
                <a:gd name="T36" fmla="*/ 58 w 62"/>
                <a:gd name="T37" fmla="*/ 56 h 79"/>
                <a:gd name="T38" fmla="*/ 56 w 62"/>
                <a:gd name="T39" fmla="*/ 5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" h="79">
                  <a:moveTo>
                    <a:pt x="56" y="59"/>
                  </a:moveTo>
                  <a:cubicBezTo>
                    <a:pt x="52" y="69"/>
                    <a:pt x="47" y="73"/>
                    <a:pt x="43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26" y="72"/>
                    <a:pt x="24" y="70"/>
                    <a:pt x="25" y="66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8"/>
                    <a:pt x="27" y="5"/>
                    <a:pt x="32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8" y="5"/>
                    <a:pt x="11" y="8"/>
                    <a:pt x="11" y="14"/>
                  </a:cubicBezTo>
                  <a:cubicBezTo>
                    <a:pt x="11" y="65"/>
                    <a:pt x="11" y="65"/>
                    <a:pt x="11" y="65"/>
                  </a:cubicBezTo>
                  <a:cubicBezTo>
                    <a:pt x="11" y="71"/>
                    <a:pt x="8" y="74"/>
                    <a:pt x="2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57"/>
                    <a:pt x="57" y="58"/>
                    <a:pt x="56" y="59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71" name="íš1iḋe"/>
            <p:cNvSpPr/>
            <p:nvPr userDrawn="1"/>
          </p:nvSpPr>
          <p:spPr bwMode="auto">
            <a:xfrm>
              <a:off x="9239250" y="3919538"/>
              <a:ext cx="166688" cy="211138"/>
            </a:xfrm>
            <a:custGeom>
              <a:avLst/>
              <a:gdLst>
                <a:gd name="T0" fmla="*/ 47 w 63"/>
                <a:gd name="T1" fmla="*/ 72 h 79"/>
                <a:gd name="T2" fmla="*/ 30 w 63"/>
                <a:gd name="T3" fmla="*/ 72 h 79"/>
                <a:gd name="T4" fmla="*/ 26 w 63"/>
                <a:gd name="T5" fmla="*/ 65 h 79"/>
                <a:gd name="T6" fmla="*/ 26 w 63"/>
                <a:gd name="T7" fmla="*/ 43 h 79"/>
                <a:gd name="T8" fmla="*/ 41 w 63"/>
                <a:gd name="T9" fmla="*/ 43 h 79"/>
                <a:gd name="T10" fmla="*/ 50 w 63"/>
                <a:gd name="T11" fmla="*/ 51 h 79"/>
                <a:gd name="T12" fmla="*/ 54 w 63"/>
                <a:gd name="T13" fmla="*/ 51 h 79"/>
                <a:gd name="T14" fmla="*/ 54 w 63"/>
                <a:gd name="T15" fmla="*/ 26 h 79"/>
                <a:gd name="T16" fmla="*/ 50 w 63"/>
                <a:gd name="T17" fmla="*/ 26 h 79"/>
                <a:gd name="T18" fmla="*/ 43 w 63"/>
                <a:gd name="T19" fmla="*/ 35 h 79"/>
                <a:gd name="T20" fmla="*/ 26 w 63"/>
                <a:gd name="T21" fmla="*/ 35 h 79"/>
                <a:gd name="T22" fmla="*/ 26 w 63"/>
                <a:gd name="T23" fmla="*/ 7 h 79"/>
                <a:gd name="T24" fmla="*/ 48 w 63"/>
                <a:gd name="T25" fmla="*/ 7 h 79"/>
                <a:gd name="T26" fmla="*/ 55 w 63"/>
                <a:gd name="T27" fmla="*/ 18 h 79"/>
                <a:gd name="T28" fmla="*/ 59 w 63"/>
                <a:gd name="T29" fmla="*/ 18 h 79"/>
                <a:gd name="T30" fmla="*/ 58 w 63"/>
                <a:gd name="T31" fmla="*/ 0 h 79"/>
                <a:gd name="T32" fmla="*/ 2 w 63"/>
                <a:gd name="T33" fmla="*/ 0 h 79"/>
                <a:gd name="T34" fmla="*/ 2 w 63"/>
                <a:gd name="T35" fmla="*/ 5 h 79"/>
                <a:gd name="T36" fmla="*/ 3 w 63"/>
                <a:gd name="T37" fmla="*/ 5 h 79"/>
                <a:gd name="T38" fmla="*/ 12 w 63"/>
                <a:gd name="T39" fmla="*/ 14 h 79"/>
                <a:gd name="T40" fmla="*/ 12 w 63"/>
                <a:gd name="T41" fmla="*/ 65 h 79"/>
                <a:gd name="T42" fmla="*/ 4 w 63"/>
                <a:gd name="T43" fmla="*/ 74 h 79"/>
                <a:gd name="T44" fmla="*/ 0 w 63"/>
                <a:gd name="T45" fmla="*/ 74 h 79"/>
                <a:gd name="T46" fmla="*/ 0 w 63"/>
                <a:gd name="T47" fmla="*/ 79 h 79"/>
                <a:gd name="T48" fmla="*/ 61 w 63"/>
                <a:gd name="T49" fmla="*/ 79 h 79"/>
                <a:gd name="T50" fmla="*/ 63 w 63"/>
                <a:gd name="T51" fmla="*/ 59 h 79"/>
                <a:gd name="T52" fmla="*/ 59 w 63"/>
                <a:gd name="T53" fmla="*/ 59 h 79"/>
                <a:gd name="T54" fmla="*/ 47 w 63"/>
                <a:gd name="T55" fmla="*/ 7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3" h="79">
                  <a:moveTo>
                    <a:pt x="47" y="72"/>
                  </a:moveTo>
                  <a:cubicBezTo>
                    <a:pt x="30" y="72"/>
                    <a:pt x="30" y="72"/>
                    <a:pt x="30" y="72"/>
                  </a:cubicBezTo>
                  <a:cubicBezTo>
                    <a:pt x="27" y="72"/>
                    <a:pt x="26" y="70"/>
                    <a:pt x="26" y="65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8" y="42"/>
                    <a:pt x="51" y="45"/>
                    <a:pt x="50" y="51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33"/>
                    <a:pt x="48" y="36"/>
                    <a:pt x="43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52" y="7"/>
                    <a:pt x="55" y="10"/>
                    <a:pt x="55" y="18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9" y="5"/>
                    <a:pt x="12" y="8"/>
                    <a:pt x="12" y="1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1"/>
                    <a:pt x="10" y="74"/>
                    <a:pt x="4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3" y="59"/>
                    <a:pt x="63" y="59"/>
                    <a:pt x="63" y="59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7" y="68"/>
                    <a:pt x="53" y="72"/>
                    <a:pt x="47" y="72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72" name="iš1îďé"/>
            <p:cNvSpPr/>
            <p:nvPr userDrawn="1"/>
          </p:nvSpPr>
          <p:spPr bwMode="auto">
            <a:xfrm>
              <a:off x="9432925" y="3919538"/>
              <a:ext cx="204788" cy="214313"/>
            </a:xfrm>
            <a:custGeom>
              <a:avLst/>
              <a:gdLst>
                <a:gd name="T0" fmla="*/ 51 w 77"/>
                <a:gd name="T1" fmla="*/ 5 h 80"/>
                <a:gd name="T2" fmla="*/ 53 w 77"/>
                <a:gd name="T3" fmla="*/ 5 h 80"/>
                <a:gd name="T4" fmla="*/ 61 w 77"/>
                <a:gd name="T5" fmla="*/ 18 h 80"/>
                <a:gd name="T6" fmla="*/ 61 w 77"/>
                <a:gd name="T7" fmla="*/ 48 h 80"/>
                <a:gd name="T8" fmla="*/ 41 w 77"/>
                <a:gd name="T9" fmla="*/ 72 h 80"/>
                <a:gd name="T10" fmla="*/ 23 w 77"/>
                <a:gd name="T11" fmla="*/ 51 h 80"/>
                <a:gd name="T12" fmla="*/ 23 w 77"/>
                <a:gd name="T13" fmla="*/ 14 h 80"/>
                <a:gd name="T14" fmla="*/ 30 w 77"/>
                <a:gd name="T15" fmla="*/ 5 h 80"/>
                <a:gd name="T16" fmla="*/ 32 w 77"/>
                <a:gd name="T17" fmla="*/ 5 h 80"/>
                <a:gd name="T18" fmla="*/ 32 w 77"/>
                <a:gd name="T19" fmla="*/ 0 h 80"/>
                <a:gd name="T20" fmla="*/ 0 w 77"/>
                <a:gd name="T21" fmla="*/ 0 h 80"/>
                <a:gd name="T22" fmla="*/ 0 w 77"/>
                <a:gd name="T23" fmla="*/ 5 h 80"/>
                <a:gd name="T24" fmla="*/ 2 w 77"/>
                <a:gd name="T25" fmla="*/ 5 h 80"/>
                <a:gd name="T26" fmla="*/ 9 w 77"/>
                <a:gd name="T27" fmla="*/ 14 h 80"/>
                <a:gd name="T28" fmla="*/ 9 w 77"/>
                <a:gd name="T29" fmla="*/ 51 h 80"/>
                <a:gd name="T30" fmla="*/ 39 w 77"/>
                <a:gd name="T31" fmla="*/ 80 h 80"/>
                <a:gd name="T32" fmla="*/ 67 w 77"/>
                <a:gd name="T33" fmla="*/ 47 h 80"/>
                <a:gd name="T34" fmla="*/ 67 w 77"/>
                <a:gd name="T35" fmla="*/ 16 h 80"/>
                <a:gd name="T36" fmla="*/ 77 w 77"/>
                <a:gd name="T37" fmla="*/ 5 h 80"/>
                <a:gd name="T38" fmla="*/ 77 w 77"/>
                <a:gd name="T39" fmla="*/ 5 h 80"/>
                <a:gd name="T40" fmla="*/ 77 w 77"/>
                <a:gd name="T41" fmla="*/ 0 h 80"/>
                <a:gd name="T42" fmla="*/ 51 w 77"/>
                <a:gd name="T43" fmla="*/ 0 h 80"/>
                <a:gd name="T44" fmla="*/ 51 w 77"/>
                <a:gd name="T45" fmla="*/ 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7" h="80">
                  <a:moveTo>
                    <a:pt x="51" y="5"/>
                  </a:moveTo>
                  <a:cubicBezTo>
                    <a:pt x="53" y="5"/>
                    <a:pt x="53" y="5"/>
                    <a:pt x="53" y="5"/>
                  </a:cubicBezTo>
                  <a:cubicBezTo>
                    <a:pt x="59" y="5"/>
                    <a:pt x="61" y="9"/>
                    <a:pt x="61" y="18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64"/>
                    <a:pt x="54" y="71"/>
                    <a:pt x="41" y="72"/>
                  </a:cubicBezTo>
                  <a:cubicBezTo>
                    <a:pt x="29" y="71"/>
                    <a:pt x="23" y="64"/>
                    <a:pt x="23" y="51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8"/>
                    <a:pt x="25" y="5"/>
                    <a:pt x="30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7" y="5"/>
                    <a:pt x="9" y="8"/>
                    <a:pt x="9" y="14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70"/>
                    <a:pt x="19" y="79"/>
                    <a:pt x="39" y="80"/>
                  </a:cubicBezTo>
                  <a:cubicBezTo>
                    <a:pt x="58" y="79"/>
                    <a:pt x="67" y="68"/>
                    <a:pt x="67" y="47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8"/>
                    <a:pt x="70" y="5"/>
                    <a:pt x="77" y="5"/>
                  </a:cubicBezTo>
                  <a:cubicBezTo>
                    <a:pt x="77" y="5"/>
                    <a:pt x="77" y="5"/>
                    <a:pt x="77" y="5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51" y="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673" name="ísļíḋè"/>
            <p:cNvSpPr/>
            <p:nvPr userDrawn="1"/>
          </p:nvSpPr>
          <p:spPr bwMode="auto">
            <a:xfrm>
              <a:off x="9661525" y="3919538"/>
              <a:ext cx="242888" cy="211138"/>
            </a:xfrm>
            <a:custGeom>
              <a:avLst/>
              <a:gdLst>
                <a:gd name="T0" fmla="*/ 84 w 91"/>
                <a:gd name="T1" fmla="*/ 71 h 79"/>
                <a:gd name="T2" fmla="*/ 82 w 91"/>
                <a:gd name="T3" fmla="*/ 61 h 79"/>
                <a:gd name="T4" fmla="*/ 80 w 91"/>
                <a:gd name="T5" fmla="*/ 15 h 79"/>
                <a:gd name="T6" fmla="*/ 80 w 91"/>
                <a:gd name="T7" fmla="*/ 7 h 79"/>
                <a:gd name="T8" fmla="*/ 87 w 91"/>
                <a:gd name="T9" fmla="*/ 5 h 79"/>
                <a:gd name="T10" fmla="*/ 87 w 91"/>
                <a:gd name="T11" fmla="*/ 0 h 79"/>
                <a:gd name="T12" fmla="*/ 65 w 91"/>
                <a:gd name="T13" fmla="*/ 0 h 79"/>
                <a:gd name="T14" fmla="*/ 46 w 91"/>
                <a:gd name="T15" fmla="*/ 53 h 79"/>
                <a:gd name="T16" fmla="*/ 26 w 91"/>
                <a:gd name="T17" fmla="*/ 0 h 79"/>
                <a:gd name="T18" fmla="*/ 4 w 91"/>
                <a:gd name="T19" fmla="*/ 0 h 79"/>
                <a:gd name="T20" fmla="*/ 4 w 91"/>
                <a:gd name="T21" fmla="*/ 5 h 79"/>
                <a:gd name="T22" fmla="*/ 10 w 91"/>
                <a:gd name="T23" fmla="*/ 7 h 79"/>
                <a:gd name="T24" fmla="*/ 12 w 91"/>
                <a:gd name="T25" fmla="*/ 15 h 79"/>
                <a:gd name="T26" fmla="*/ 9 w 91"/>
                <a:gd name="T27" fmla="*/ 60 h 79"/>
                <a:gd name="T28" fmla="*/ 8 w 91"/>
                <a:gd name="T29" fmla="*/ 71 h 79"/>
                <a:gd name="T30" fmla="*/ 0 w 91"/>
                <a:gd name="T31" fmla="*/ 74 h 79"/>
                <a:gd name="T32" fmla="*/ 0 w 91"/>
                <a:gd name="T33" fmla="*/ 79 h 79"/>
                <a:gd name="T34" fmla="*/ 23 w 91"/>
                <a:gd name="T35" fmla="*/ 79 h 79"/>
                <a:gd name="T36" fmla="*/ 23 w 91"/>
                <a:gd name="T37" fmla="*/ 74 h 79"/>
                <a:gd name="T38" fmla="*/ 16 w 91"/>
                <a:gd name="T39" fmla="*/ 71 h 79"/>
                <a:gd name="T40" fmla="*/ 15 w 91"/>
                <a:gd name="T41" fmla="*/ 61 h 79"/>
                <a:gd name="T42" fmla="*/ 17 w 91"/>
                <a:gd name="T43" fmla="*/ 17 h 79"/>
                <a:gd name="T44" fmla="*/ 40 w 91"/>
                <a:gd name="T45" fmla="*/ 79 h 79"/>
                <a:gd name="T46" fmla="*/ 43 w 91"/>
                <a:gd name="T47" fmla="*/ 79 h 79"/>
                <a:gd name="T48" fmla="*/ 66 w 91"/>
                <a:gd name="T49" fmla="*/ 15 h 79"/>
                <a:gd name="T50" fmla="*/ 68 w 91"/>
                <a:gd name="T51" fmla="*/ 59 h 79"/>
                <a:gd name="T52" fmla="*/ 68 w 91"/>
                <a:gd name="T53" fmla="*/ 65 h 79"/>
                <a:gd name="T54" fmla="*/ 60 w 91"/>
                <a:gd name="T55" fmla="*/ 74 h 79"/>
                <a:gd name="T56" fmla="*/ 59 w 91"/>
                <a:gd name="T57" fmla="*/ 74 h 79"/>
                <a:gd name="T58" fmla="*/ 59 w 91"/>
                <a:gd name="T59" fmla="*/ 79 h 79"/>
                <a:gd name="T60" fmla="*/ 91 w 91"/>
                <a:gd name="T61" fmla="*/ 79 h 79"/>
                <a:gd name="T62" fmla="*/ 91 w 91"/>
                <a:gd name="T63" fmla="*/ 74 h 79"/>
                <a:gd name="T64" fmla="*/ 84 w 91"/>
                <a:gd name="T65" fmla="*/ 71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" h="79">
                  <a:moveTo>
                    <a:pt x="84" y="71"/>
                  </a:moveTo>
                  <a:cubicBezTo>
                    <a:pt x="82" y="70"/>
                    <a:pt x="82" y="67"/>
                    <a:pt x="82" y="61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79" y="10"/>
                    <a:pt x="79" y="8"/>
                    <a:pt x="80" y="7"/>
                  </a:cubicBezTo>
                  <a:cubicBezTo>
                    <a:pt x="80" y="6"/>
                    <a:pt x="83" y="5"/>
                    <a:pt x="87" y="5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8" y="6"/>
                    <a:pt x="10" y="6"/>
                    <a:pt x="10" y="7"/>
                  </a:cubicBezTo>
                  <a:cubicBezTo>
                    <a:pt x="11" y="8"/>
                    <a:pt x="12" y="11"/>
                    <a:pt x="12" y="15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9" y="66"/>
                    <a:pt x="9" y="70"/>
                    <a:pt x="8" y="71"/>
                  </a:cubicBezTo>
                  <a:cubicBezTo>
                    <a:pt x="7" y="73"/>
                    <a:pt x="4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4"/>
                    <a:pt x="23" y="74"/>
                    <a:pt x="23" y="74"/>
                  </a:cubicBezTo>
                  <a:cubicBezTo>
                    <a:pt x="19" y="74"/>
                    <a:pt x="17" y="73"/>
                    <a:pt x="16" y="71"/>
                  </a:cubicBezTo>
                  <a:cubicBezTo>
                    <a:pt x="15" y="70"/>
                    <a:pt x="15" y="67"/>
                    <a:pt x="15" y="61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8" y="61"/>
                    <a:pt x="68" y="63"/>
                    <a:pt x="68" y="65"/>
                  </a:cubicBezTo>
                  <a:cubicBezTo>
                    <a:pt x="69" y="71"/>
                    <a:pt x="66" y="74"/>
                    <a:pt x="60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9"/>
                    <a:pt x="59" y="79"/>
                    <a:pt x="59" y="79"/>
                  </a:cubicBezTo>
                  <a:cubicBezTo>
                    <a:pt x="91" y="79"/>
                    <a:pt x="91" y="79"/>
                    <a:pt x="91" y="79"/>
                  </a:cubicBezTo>
                  <a:cubicBezTo>
                    <a:pt x="91" y="74"/>
                    <a:pt x="91" y="74"/>
                    <a:pt x="91" y="74"/>
                  </a:cubicBezTo>
                  <a:cubicBezTo>
                    <a:pt x="87" y="73"/>
                    <a:pt x="84" y="72"/>
                    <a:pt x="84" y="71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167" name="Freeform 13"/>
          <p:cNvSpPr/>
          <p:nvPr userDrawn="1"/>
        </p:nvSpPr>
        <p:spPr bwMode="auto">
          <a:xfrm flipH="1">
            <a:off x="-7372" y="290382"/>
            <a:ext cx="7064723" cy="6005561"/>
          </a:xfrm>
          <a:custGeom>
            <a:avLst/>
            <a:gdLst>
              <a:gd name="T0" fmla="*/ 1288 w 1288"/>
              <a:gd name="T1" fmla="*/ 196 h 1096"/>
              <a:gd name="T2" fmla="*/ 920 w 1288"/>
              <a:gd name="T3" fmla="*/ 4 h 1096"/>
              <a:gd name="T4" fmla="*/ 428 w 1288"/>
              <a:gd name="T5" fmla="*/ 196 h 1096"/>
              <a:gd name="T6" fmla="*/ 188 w 1288"/>
              <a:gd name="T7" fmla="*/ 284 h 1096"/>
              <a:gd name="T8" fmla="*/ 24 w 1288"/>
              <a:gd name="T9" fmla="*/ 652 h 1096"/>
              <a:gd name="T10" fmla="*/ 544 w 1288"/>
              <a:gd name="T11" fmla="*/ 948 h 1096"/>
              <a:gd name="T12" fmla="*/ 748 w 1288"/>
              <a:gd name="T13" fmla="*/ 1080 h 1096"/>
              <a:gd name="T14" fmla="*/ 1288 w 1288"/>
              <a:gd name="T15" fmla="*/ 976 h 1096"/>
              <a:gd name="T16" fmla="*/ 1288 w 1288"/>
              <a:gd name="T17" fmla="*/ 196 h 10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88" h="1096">
                <a:moveTo>
                  <a:pt x="1288" y="196"/>
                </a:moveTo>
                <a:cubicBezTo>
                  <a:pt x="1288" y="196"/>
                  <a:pt x="1088" y="8"/>
                  <a:pt x="920" y="4"/>
                </a:cubicBezTo>
                <a:cubicBezTo>
                  <a:pt x="752" y="0"/>
                  <a:pt x="564" y="164"/>
                  <a:pt x="428" y="196"/>
                </a:cubicBezTo>
                <a:cubicBezTo>
                  <a:pt x="292" y="228"/>
                  <a:pt x="268" y="228"/>
                  <a:pt x="188" y="284"/>
                </a:cubicBezTo>
                <a:cubicBezTo>
                  <a:pt x="108" y="340"/>
                  <a:pt x="0" y="468"/>
                  <a:pt x="24" y="652"/>
                </a:cubicBezTo>
                <a:cubicBezTo>
                  <a:pt x="48" y="836"/>
                  <a:pt x="160" y="928"/>
                  <a:pt x="544" y="948"/>
                </a:cubicBezTo>
                <a:cubicBezTo>
                  <a:pt x="684" y="968"/>
                  <a:pt x="648" y="1064"/>
                  <a:pt x="748" y="1080"/>
                </a:cubicBezTo>
                <a:cubicBezTo>
                  <a:pt x="848" y="1096"/>
                  <a:pt x="1176" y="1040"/>
                  <a:pt x="1288" y="976"/>
                </a:cubicBezTo>
                <a:lnTo>
                  <a:pt x="1288" y="196"/>
                </a:lnTo>
                <a:close/>
              </a:path>
            </a:pathLst>
          </a:custGeom>
          <a:blipFill>
            <a:blip r:embed="rId2"/>
            <a:srcRect/>
            <a:stretch>
              <a:fillRect l="-2899" r="-35053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050168" name="文本框 49"/>
          <p:cNvSpPr txBox="1"/>
          <p:nvPr userDrawn="1"/>
        </p:nvSpPr>
        <p:spPr>
          <a:xfrm>
            <a:off x="3204358" y="899760"/>
            <a:ext cx="8739687" cy="3771877"/>
          </a:xfrm>
          <a:custGeom>
            <a:avLst/>
            <a:gdLst/>
            <a:ahLst/>
            <a:cxnLst/>
            <a:rect l="l" t="t" r="r" b="b"/>
            <a:pathLst>
              <a:path w="1939472" h="837038">
                <a:moveTo>
                  <a:pt x="1698613" y="123914"/>
                </a:moveTo>
                <a:cubicBezTo>
                  <a:pt x="1689987" y="123914"/>
                  <a:pt x="1681029" y="128144"/>
                  <a:pt x="1671740" y="136604"/>
                </a:cubicBezTo>
                <a:cubicBezTo>
                  <a:pt x="1662451" y="145064"/>
                  <a:pt x="1657806" y="167872"/>
                  <a:pt x="1657806" y="205030"/>
                </a:cubicBezTo>
                <a:lnTo>
                  <a:pt x="1657806" y="355816"/>
                </a:lnTo>
                <a:cubicBezTo>
                  <a:pt x="1657806" y="389656"/>
                  <a:pt x="1662202" y="410557"/>
                  <a:pt x="1670993" y="418519"/>
                </a:cubicBezTo>
                <a:cubicBezTo>
                  <a:pt x="1679785" y="426481"/>
                  <a:pt x="1688826" y="430462"/>
                  <a:pt x="1698115" y="430462"/>
                </a:cubicBezTo>
                <a:cubicBezTo>
                  <a:pt x="1712049" y="430462"/>
                  <a:pt x="1722251" y="425403"/>
                  <a:pt x="1728720" y="415284"/>
                </a:cubicBezTo>
                <a:cubicBezTo>
                  <a:pt x="1735189" y="405166"/>
                  <a:pt x="1738424" y="385343"/>
                  <a:pt x="1738424" y="355816"/>
                </a:cubicBezTo>
                <a:lnTo>
                  <a:pt x="1738424" y="210006"/>
                </a:lnTo>
                <a:cubicBezTo>
                  <a:pt x="1738424" y="174508"/>
                  <a:pt x="1735355" y="151284"/>
                  <a:pt x="1729218" y="140336"/>
                </a:cubicBezTo>
                <a:cubicBezTo>
                  <a:pt x="1723080" y="129388"/>
                  <a:pt x="1712878" y="123914"/>
                  <a:pt x="1698613" y="123914"/>
                </a:cubicBezTo>
                <a:close/>
                <a:moveTo>
                  <a:pt x="761181" y="123914"/>
                </a:moveTo>
                <a:cubicBezTo>
                  <a:pt x="746252" y="123914"/>
                  <a:pt x="736382" y="129637"/>
                  <a:pt x="731572" y="141082"/>
                </a:cubicBezTo>
                <a:cubicBezTo>
                  <a:pt x="726761" y="152528"/>
                  <a:pt x="724356" y="178986"/>
                  <a:pt x="724356" y="220457"/>
                </a:cubicBezTo>
                <a:lnTo>
                  <a:pt x="724356" y="613596"/>
                </a:lnTo>
                <a:cubicBezTo>
                  <a:pt x="724356" y="660374"/>
                  <a:pt x="726595" y="688574"/>
                  <a:pt x="731074" y="698195"/>
                </a:cubicBezTo>
                <a:cubicBezTo>
                  <a:pt x="735553" y="707816"/>
                  <a:pt x="745257" y="712627"/>
                  <a:pt x="760186" y="712627"/>
                </a:cubicBezTo>
                <a:cubicBezTo>
                  <a:pt x="775115" y="712627"/>
                  <a:pt x="784902" y="706987"/>
                  <a:pt x="789547" y="695707"/>
                </a:cubicBezTo>
                <a:cubicBezTo>
                  <a:pt x="794192" y="684427"/>
                  <a:pt x="796514" y="659047"/>
                  <a:pt x="796514" y="619567"/>
                </a:cubicBezTo>
                <a:lnTo>
                  <a:pt x="796514" y="220457"/>
                </a:lnTo>
                <a:cubicBezTo>
                  <a:pt x="796514" y="177659"/>
                  <a:pt x="794441" y="150869"/>
                  <a:pt x="790294" y="140087"/>
                </a:cubicBezTo>
                <a:cubicBezTo>
                  <a:pt x="786147" y="129305"/>
                  <a:pt x="776442" y="123914"/>
                  <a:pt x="761181" y="123914"/>
                </a:cubicBezTo>
                <a:close/>
                <a:moveTo>
                  <a:pt x="1257826" y="15427"/>
                </a:moveTo>
                <a:lnTo>
                  <a:pt x="1376265" y="15427"/>
                </a:lnTo>
                <a:lnTo>
                  <a:pt x="1376265" y="821113"/>
                </a:lnTo>
                <a:lnTo>
                  <a:pt x="1175217" y="821113"/>
                </a:lnTo>
                <a:lnTo>
                  <a:pt x="1175217" y="389158"/>
                </a:lnTo>
                <a:cubicBezTo>
                  <a:pt x="1175217" y="326787"/>
                  <a:pt x="1173724" y="289297"/>
                  <a:pt x="1170738" y="276690"/>
                </a:cubicBezTo>
                <a:cubicBezTo>
                  <a:pt x="1167752" y="264083"/>
                  <a:pt x="1159541" y="254545"/>
                  <a:pt x="1146104" y="248076"/>
                </a:cubicBezTo>
                <a:cubicBezTo>
                  <a:pt x="1132668" y="241607"/>
                  <a:pt x="1102726" y="238372"/>
                  <a:pt x="1056280" y="238372"/>
                </a:cubicBezTo>
                <a:lnTo>
                  <a:pt x="1036374" y="238372"/>
                </a:lnTo>
                <a:lnTo>
                  <a:pt x="1036374" y="144442"/>
                </a:lnTo>
                <a:cubicBezTo>
                  <a:pt x="1133580" y="123520"/>
                  <a:pt x="1207398" y="80515"/>
                  <a:pt x="1257826" y="15427"/>
                </a:cubicBezTo>
                <a:close/>
                <a:moveTo>
                  <a:pt x="1689655" y="0"/>
                </a:moveTo>
                <a:cubicBezTo>
                  <a:pt x="1743401" y="0"/>
                  <a:pt x="1787525" y="7465"/>
                  <a:pt x="1822028" y="22394"/>
                </a:cubicBezTo>
                <a:cubicBezTo>
                  <a:pt x="1856532" y="37324"/>
                  <a:pt x="1883239" y="58805"/>
                  <a:pt x="1902149" y="86839"/>
                </a:cubicBezTo>
                <a:cubicBezTo>
                  <a:pt x="1921060" y="114873"/>
                  <a:pt x="1932008" y="144317"/>
                  <a:pt x="1934994" y="175171"/>
                </a:cubicBezTo>
                <a:cubicBezTo>
                  <a:pt x="1937979" y="206025"/>
                  <a:pt x="1939472" y="265742"/>
                  <a:pt x="1939472" y="354323"/>
                </a:cubicBezTo>
                <a:lnTo>
                  <a:pt x="1939472" y="466293"/>
                </a:lnTo>
                <a:cubicBezTo>
                  <a:pt x="1939472" y="562172"/>
                  <a:pt x="1938145" y="626285"/>
                  <a:pt x="1935491" y="658632"/>
                </a:cubicBezTo>
                <a:cubicBezTo>
                  <a:pt x="1932837" y="690979"/>
                  <a:pt x="1921308" y="721584"/>
                  <a:pt x="1900905" y="750448"/>
                </a:cubicBezTo>
                <a:cubicBezTo>
                  <a:pt x="1880502" y="779311"/>
                  <a:pt x="1852882" y="800959"/>
                  <a:pt x="1818047" y="815390"/>
                </a:cubicBezTo>
                <a:cubicBezTo>
                  <a:pt x="1783212" y="829822"/>
                  <a:pt x="1742903" y="837038"/>
                  <a:pt x="1697120" y="837038"/>
                </a:cubicBezTo>
                <a:cubicBezTo>
                  <a:pt x="1640388" y="837038"/>
                  <a:pt x="1594025" y="827914"/>
                  <a:pt x="1558028" y="809667"/>
                </a:cubicBezTo>
                <a:cubicBezTo>
                  <a:pt x="1522032" y="791420"/>
                  <a:pt x="1496154" y="765709"/>
                  <a:pt x="1480396" y="732532"/>
                </a:cubicBezTo>
                <a:cubicBezTo>
                  <a:pt x="1464637" y="699356"/>
                  <a:pt x="1456758" y="657554"/>
                  <a:pt x="1456758" y="607126"/>
                </a:cubicBezTo>
                <a:lnTo>
                  <a:pt x="1657806" y="607126"/>
                </a:lnTo>
                <a:cubicBezTo>
                  <a:pt x="1657806" y="644615"/>
                  <a:pt x="1658303" y="668253"/>
                  <a:pt x="1659299" y="678040"/>
                </a:cubicBezTo>
                <a:cubicBezTo>
                  <a:pt x="1660294" y="687827"/>
                  <a:pt x="1664358" y="696039"/>
                  <a:pt x="1671491" y="702674"/>
                </a:cubicBezTo>
                <a:cubicBezTo>
                  <a:pt x="1678624" y="709309"/>
                  <a:pt x="1688328" y="712627"/>
                  <a:pt x="1700603" y="712627"/>
                </a:cubicBezTo>
                <a:cubicBezTo>
                  <a:pt x="1710888" y="712627"/>
                  <a:pt x="1719348" y="709475"/>
                  <a:pt x="1725983" y="703171"/>
                </a:cubicBezTo>
                <a:cubicBezTo>
                  <a:pt x="1732618" y="696868"/>
                  <a:pt x="1736351" y="688740"/>
                  <a:pt x="1737180" y="678787"/>
                </a:cubicBezTo>
                <a:cubicBezTo>
                  <a:pt x="1738009" y="668834"/>
                  <a:pt x="1738424" y="648762"/>
                  <a:pt x="1738424" y="618572"/>
                </a:cubicBezTo>
                <a:lnTo>
                  <a:pt x="1738424" y="490180"/>
                </a:lnTo>
                <a:cubicBezTo>
                  <a:pt x="1728471" y="511744"/>
                  <a:pt x="1713542" y="527918"/>
                  <a:pt x="1693636" y="538700"/>
                </a:cubicBezTo>
                <a:cubicBezTo>
                  <a:pt x="1673730" y="549482"/>
                  <a:pt x="1649014" y="554874"/>
                  <a:pt x="1619487" y="554874"/>
                </a:cubicBezTo>
                <a:cubicBezTo>
                  <a:pt x="1582662" y="554874"/>
                  <a:pt x="1550149" y="544921"/>
                  <a:pt x="1521949" y="525015"/>
                </a:cubicBezTo>
                <a:cubicBezTo>
                  <a:pt x="1493749" y="505109"/>
                  <a:pt x="1475834" y="481222"/>
                  <a:pt x="1468203" y="453354"/>
                </a:cubicBezTo>
                <a:cubicBezTo>
                  <a:pt x="1460573" y="425486"/>
                  <a:pt x="1456758" y="387831"/>
                  <a:pt x="1456758" y="340389"/>
                </a:cubicBezTo>
                <a:lnTo>
                  <a:pt x="1456758" y="276193"/>
                </a:lnTo>
                <a:cubicBezTo>
                  <a:pt x="1456758" y="219793"/>
                  <a:pt x="1458997" y="177825"/>
                  <a:pt x="1463476" y="150289"/>
                </a:cubicBezTo>
                <a:cubicBezTo>
                  <a:pt x="1467955" y="122753"/>
                  <a:pt x="1479483" y="97290"/>
                  <a:pt x="1498062" y="73901"/>
                </a:cubicBezTo>
                <a:cubicBezTo>
                  <a:pt x="1516641" y="50511"/>
                  <a:pt x="1542352" y="32347"/>
                  <a:pt x="1575197" y="19408"/>
                </a:cubicBezTo>
                <a:cubicBezTo>
                  <a:pt x="1608041" y="6470"/>
                  <a:pt x="1646194" y="0"/>
                  <a:pt x="1689655" y="0"/>
                </a:cubicBezTo>
                <a:close/>
                <a:moveTo>
                  <a:pt x="756703" y="0"/>
                </a:moveTo>
                <a:cubicBezTo>
                  <a:pt x="800827" y="0"/>
                  <a:pt x="840307" y="7714"/>
                  <a:pt x="875142" y="23141"/>
                </a:cubicBezTo>
                <a:cubicBezTo>
                  <a:pt x="909977" y="38568"/>
                  <a:pt x="936020" y="57395"/>
                  <a:pt x="953272" y="79623"/>
                </a:cubicBezTo>
                <a:cubicBezTo>
                  <a:pt x="970524" y="101851"/>
                  <a:pt x="982218" y="126900"/>
                  <a:pt x="988356" y="154768"/>
                </a:cubicBezTo>
                <a:cubicBezTo>
                  <a:pt x="994493" y="182636"/>
                  <a:pt x="997562" y="227092"/>
                  <a:pt x="997562" y="288136"/>
                </a:cubicBezTo>
                <a:lnTo>
                  <a:pt x="997562" y="556864"/>
                </a:lnTo>
                <a:cubicBezTo>
                  <a:pt x="997562" y="617908"/>
                  <a:pt x="994245" y="662365"/>
                  <a:pt x="987609" y="690233"/>
                </a:cubicBezTo>
                <a:cubicBezTo>
                  <a:pt x="980974" y="718101"/>
                  <a:pt x="967206" y="744144"/>
                  <a:pt x="946305" y="768363"/>
                </a:cubicBezTo>
                <a:cubicBezTo>
                  <a:pt x="925404" y="792582"/>
                  <a:pt x="900190" y="809999"/>
                  <a:pt x="870663" y="820615"/>
                </a:cubicBezTo>
                <a:cubicBezTo>
                  <a:pt x="841136" y="831232"/>
                  <a:pt x="808126" y="836540"/>
                  <a:pt x="771632" y="836540"/>
                </a:cubicBezTo>
                <a:cubicBezTo>
                  <a:pt x="723526" y="836540"/>
                  <a:pt x="683549" y="830983"/>
                  <a:pt x="651700" y="819869"/>
                </a:cubicBezTo>
                <a:cubicBezTo>
                  <a:pt x="619851" y="808755"/>
                  <a:pt x="594471" y="791420"/>
                  <a:pt x="575560" y="767865"/>
                </a:cubicBezTo>
                <a:cubicBezTo>
                  <a:pt x="556650" y="744310"/>
                  <a:pt x="543213" y="719511"/>
                  <a:pt x="535251" y="693467"/>
                </a:cubicBezTo>
                <a:cubicBezTo>
                  <a:pt x="527289" y="667424"/>
                  <a:pt x="523308" y="626037"/>
                  <a:pt x="523308" y="569305"/>
                </a:cubicBezTo>
                <a:lnTo>
                  <a:pt x="523308" y="288136"/>
                </a:lnTo>
                <a:cubicBezTo>
                  <a:pt x="523308" y="214153"/>
                  <a:pt x="529694" y="158749"/>
                  <a:pt x="542467" y="121923"/>
                </a:cubicBezTo>
                <a:cubicBezTo>
                  <a:pt x="555240" y="85098"/>
                  <a:pt x="580620" y="55571"/>
                  <a:pt x="618606" y="33343"/>
                </a:cubicBezTo>
                <a:cubicBezTo>
                  <a:pt x="656593" y="11114"/>
                  <a:pt x="702625" y="0"/>
                  <a:pt x="756703" y="0"/>
                </a:cubicBezTo>
                <a:close/>
                <a:moveTo>
                  <a:pt x="217470" y="0"/>
                </a:moveTo>
                <a:cubicBezTo>
                  <a:pt x="297425" y="0"/>
                  <a:pt x="357889" y="19823"/>
                  <a:pt x="398862" y="59469"/>
                </a:cubicBezTo>
                <a:cubicBezTo>
                  <a:pt x="439834" y="99114"/>
                  <a:pt x="460321" y="149294"/>
                  <a:pt x="460321" y="210006"/>
                </a:cubicBezTo>
                <a:cubicBezTo>
                  <a:pt x="460321" y="256121"/>
                  <a:pt x="448791" y="304890"/>
                  <a:pt x="425731" y="356313"/>
                </a:cubicBezTo>
                <a:cubicBezTo>
                  <a:pt x="402670" y="407737"/>
                  <a:pt x="334738" y="516887"/>
                  <a:pt x="221934" y="683763"/>
                </a:cubicBezTo>
                <a:lnTo>
                  <a:pt x="442406" y="683763"/>
                </a:lnTo>
                <a:lnTo>
                  <a:pt x="442406" y="821113"/>
                </a:lnTo>
                <a:lnTo>
                  <a:pt x="0" y="821113"/>
                </a:lnTo>
                <a:lnTo>
                  <a:pt x="124" y="706157"/>
                </a:lnTo>
                <a:cubicBezTo>
                  <a:pt x="131171" y="491839"/>
                  <a:pt x="209052" y="359216"/>
                  <a:pt x="233768" y="308291"/>
                </a:cubicBezTo>
                <a:cubicBezTo>
                  <a:pt x="258485" y="257365"/>
                  <a:pt x="270843" y="217637"/>
                  <a:pt x="270843" y="189105"/>
                </a:cubicBezTo>
                <a:cubicBezTo>
                  <a:pt x="270843" y="167209"/>
                  <a:pt x="267105" y="150869"/>
                  <a:pt x="259630" y="140087"/>
                </a:cubicBezTo>
                <a:cubicBezTo>
                  <a:pt x="252155" y="129305"/>
                  <a:pt x="240777" y="123914"/>
                  <a:pt x="225495" y="123914"/>
                </a:cubicBezTo>
                <a:cubicBezTo>
                  <a:pt x="210213" y="123914"/>
                  <a:pt x="198835" y="129885"/>
                  <a:pt x="191360" y="141829"/>
                </a:cubicBezTo>
                <a:cubicBezTo>
                  <a:pt x="183885" y="153772"/>
                  <a:pt x="180147" y="177493"/>
                  <a:pt x="180147" y="212992"/>
                </a:cubicBezTo>
                <a:lnTo>
                  <a:pt x="180147" y="289629"/>
                </a:lnTo>
                <a:lnTo>
                  <a:pt x="0" y="289629"/>
                </a:lnTo>
                <a:lnTo>
                  <a:pt x="0" y="260268"/>
                </a:lnTo>
                <a:cubicBezTo>
                  <a:pt x="0" y="215149"/>
                  <a:pt x="2322" y="179567"/>
                  <a:pt x="6967" y="153524"/>
                </a:cubicBezTo>
                <a:cubicBezTo>
                  <a:pt x="11612" y="127480"/>
                  <a:pt x="23057" y="101851"/>
                  <a:pt x="41304" y="76638"/>
                </a:cubicBezTo>
                <a:cubicBezTo>
                  <a:pt x="59551" y="51424"/>
                  <a:pt x="83272" y="32347"/>
                  <a:pt x="112468" y="19408"/>
                </a:cubicBezTo>
                <a:cubicBezTo>
                  <a:pt x="141663" y="6470"/>
                  <a:pt x="176664" y="0"/>
                  <a:pt x="217470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r"/>
            <a:endParaRPr lang="zh-CN" altLang="en-US" sz="8000" dirty="0">
              <a:latin typeface="Impact" panose="020B0806030902050204" pitchFamily="34" charset="0"/>
            </a:endParaRPr>
          </a:p>
        </p:txBody>
      </p:sp>
      <p:sp>
        <p:nvSpPr>
          <p:cNvPr id="1050169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909165"/>
            <a:ext cx="108457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050170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215401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105017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919130"/>
            <a:ext cx="108457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</a:lvl2pPr>
            <a:lvl3pPr marL="914400" indent="0">
              <a:buNone/>
            </a:lvl3pPr>
            <a:lvl4pPr marL="1371600" indent="0">
              <a:buNone/>
            </a:lvl4pPr>
            <a:lvl5pPr marL="1828800" indent="0">
              <a:buNone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任意多边形: 形状 16"/>
          <p:cNvSpPr/>
          <p:nvPr userDrawn="1"/>
        </p:nvSpPr>
        <p:spPr>
          <a:xfrm>
            <a:off x="0" y="0"/>
            <a:ext cx="12192000" cy="6857999"/>
          </a:xfrm>
          <a:custGeom>
            <a:avLst/>
            <a:gdLst>
              <a:gd name="connsiteX0" fmla="*/ 373694 w 12192000"/>
              <a:gd name="connsiteY0" fmla="*/ 254634 h 6857999"/>
              <a:gd name="connsiteX1" fmla="*/ 289383 w 12192000"/>
              <a:gd name="connsiteY1" fmla="*/ 338945 h 6857999"/>
              <a:gd name="connsiteX2" fmla="*/ 289383 w 12192000"/>
              <a:gd name="connsiteY2" fmla="*/ 6519056 h 6857999"/>
              <a:gd name="connsiteX3" fmla="*/ 373694 w 12192000"/>
              <a:gd name="connsiteY3" fmla="*/ 6603367 h 6857999"/>
              <a:gd name="connsiteX4" fmla="*/ 11818307 w 12192000"/>
              <a:gd name="connsiteY4" fmla="*/ 6603367 h 6857999"/>
              <a:gd name="connsiteX5" fmla="*/ 11902618 w 12192000"/>
              <a:gd name="connsiteY5" fmla="*/ 6519056 h 6857999"/>
              <a:gd name="connsiteX6" fmla="*/ 11902618 w 12192000"/>
              <a:gd name="connsiteY6" fmla="*/ 338945 h 6857999"/>
              <a:gd name="connsiteX7" fmla="*/ 11818307 w 12192000"/>
              <a:gd name="connsiteY7" fmla="*/ 254634 h 6857999"/>
              <a:gd name="connsiteX8" fmla="*/ 0 w 12192000"/>
              <a:gd name="connsiteY8" fmla="*/ 0 h 6857999"/>
              <a:gd name="connsiteX9" fmla="*/ 12192000 w 12192000"/>
              <a:gd name="connsiteY9" fmla="*/ 0 h 6857999"/>
              <a:gd name="connsiteX10" fmla="*/ 12192000 w 12192000"/>
              <a:gd name="connsiteY10" fmla="*/ 6857999 h 6857999"/>
              <a:gd name="connsiteX11" fmla="*/ 0 w 12192000"/>
              <a:gd name="connsiteY11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7999">
                <a:moveTo>
                  <a:pt x="373694" y="254634"/>
                </a:moveTo>
                <a:cubicBezTo>
                  <a:pt x="327130" y="254634"/>
                  <a:pt x="289383" y="292381"/>
                  <a:pt x="289383" y="338945"/>
                </a:cubicBezTo>
                <a:lnTo>
                  <a:pt x="289383" y="6519056"/>
                </a:lnTo>
                <a:cubicBezTo>
                  <a:pt x="289383" y="6565620"/>
                  <a:pt x="327130" y="6603367"/>
                  <a:pt x="373694" y="6603367"/>
                </a:cubicBezTo>
                <a:lnTo>
                  <a:pt x="11818307" y="6603367"/>
                </a:lnTo>
                <a:cubicBezTo>
                  <a:pt x="11864871" y="6603367"/>
                  <a:pt x="11902618" y="6565620"/>
                  <a:pt x="11902618" y="6519056"/>
                </a:cubicBezTo>
                <a:lnTo>
                  <a:pt x="11902618" y="338945"/>
                </a:lnTo>
                <a:cubicBezTo>
                  <a:pt x="11902618" y="292381"/>
                  <a:pt x="11864871" y="254634"/>
                  <a:pt x="11818307" y="25463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numCol="1" rtlCol="0" anchor="ctr">
            <a:noAutofit/>
          </a:bodyPr>
          <a:lstStyle/>
          <a:p>
            <a:pPr algn="ctr"/>
            <a:endParaRPr lang="zh-CN"/>
          </a:p>
        </p:txBody>
      </p:sp>
      <p:sp>
        <p:nvSpPr>
          <p:cNvPr id="16" name="矩形: 圆角 15"/>
          <p:cNvSpPr/>
          <p:nvPr userDrawn="1"/>
        </p:nvSpPr>
        <p:spPr>
          <a:xfrm>
            <a:off x="289383" y="254634"/>
            <a:ext cx="11613235" cy="6348733"/>
          </a:xfrm>
          <a:prstGeom prst="roundRect">
            <a:avLst>
              <a:gd name="adj" fmla="val 1328"/>
            </a:avLst>
          </a:prstGeom>
          <a:solidFill>
            <a:schemeClr val="bg1">
              <a:alpha val="90000"/>
            </a:schemeClr>
          </a:solidFill>
          <a:ln>
            <a:noFill/>
          </a:ln>
          <a:effectLst>
            <a:outerShdw blurRad="76200" sx="101000" sy="101000" algn="ctr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zh-CN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002549" y="2332940"/>
            <a:ext cx="8186902" cy="833759"/>
          </a:xfrm>
        </p:spPr>
        <p:txBody>
          <a:bodyPr lIns="0" rIns="0" bIns="0" numCol="1" anchor="b" anchorCtr="0">
            <a:normAutofit/>
          </a:bodyPr>
          <a:lstStyle>
            <a:lvl1pPr algn="ctr">
              <a:defRPr lang="zh-CN" sz="4400" b="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002549" y="3234727"/>
            <a:ext cx="8186902" cy="472251"/>
          </a:xfrm>
        </p:spPr>
        <p:txBody>
          <a:bodyPr wrap="square" lIns="0" rIns="0" numCol="1" anchor="t" anchorCtr="0"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dirty="0"/>
              <a:t>单击此处编辑母版副标题样式</a:t>
            </a:r>
          </a:p>
        </p:txBody>
      </p:sp>
      <p:pic>
        <p:nvPicPr>
          <p:cNvPr id="18" name="图片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59659" y="1128211"/>
            <a:ext cx="3072682" cy="767856"/>
          </a:xfrm>
          <a:prstGeom prst="rect">
            <a:avLst/>
          </a:prstGeom>
        </p:spPr>
      </p:pic>
      <p:cxnSp>
        <p:nvCxnSpPr>
          <p:cNvPr id="20" name="直接连接符 19"/>
          <p:cNvCxnSpPr/>
          <p:nvPr userDrawn="1"/>
        </p:nvCxnSpPr>
        <p:spPr>
          <a:xfrm>
            <a:off x="5186680" y="3897585"/>
            <a:ext cx="181864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文本占位符 21"/>
          <p:cNvSpPr>
            <a:spLocks noGrp="1"/>
          </p:cNvSpPr>
          <p:nvPr>
            <p:ph type="body" sz="quarter" idx="13" hasCustomPrompt="1"/>
          </p:nvPr>
        </p:nvSpPr>
        <p:spPr>
          <a:xfrm>
            <a:off x="3520598" y="4207533"/>
            <a:ext cx="5150803" cy="472252"/>
          </a:xfrm>
        </p:spPr>
        <p:txBody>
          <a:bodyPr numCol="1" anchor="ctr" anchorCtr="0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/>
            </a:lvl2pPr>
          </a:lstStyle>
          <a:p>
            <a:pPr lvl="0"/>
            <a:r>
              <a:rPr lang="zh-CN" dirty="0"/>
              <a:t>编辑母版文本样式</a:t>
            </a:r>
          </a:p>
        </p:txBody>
      </p:sp>
      <p:sp>
        <p:nvSpPr>
          <p:cNvPr id="23" name="十字形 22"/>
          <p:cNvSpPr/>
          <p:nvPr userDrawn="1"/>
        </p:nvSpPr>
        <p:spPr>
          <a:xfrm rot="2700000">
            <a:off x="5951999" y="5523207"/>
            <a:ext cx="288000" cy="288000"/>
          </a:xfrm>
          <a:prstGeom prst="plus">
            <a:avLst>
              <a:gd name="adj" fmla="val 4586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zh-CN"/>
          </a:p>
        </p:txBody>
      </p:sp>
      <p:sp>
        <p:nvSpPr>
          <p:cNvPr id="26" name="文本占位符 25"/>
          <p:cNvSpPr>
            <a:spLocks noGrp="1"/>
          </p:cNvSpPr>
          <p:nvPr>
            <p:ph type="body" sz="quarter" idx="15" hasCustomPrompt="1"/>
          </p:nvPr>
        </p:nvSpPr>
        <p:spPr>
          <a:xfrm>
            <a:off x="3971639" y="5893688"/>
            <a:ext cx="4248721" cy="342012"/>
          </a:xfrm>
        </p:spPr>
        <p:txBody>
          <a:bodyPr wrap="square" numCol="1">
            <a:noAutofit/>
          </a:bodyPr>
          <a:lstStyle>
            <a:lvl1pPr marL="0" indent="0" algn="ctr">
              <a:buNone/>
              <a:defRPr lang="zh-CN" sz="1600" kern="1200" dirty="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zh-CN" dirty="0"/>
              <a:t>这里可以写你的学院或者专业名称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76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048577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3145728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857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33040F5-AA1C-4594-AD42-5107FD5A2249}" type="datetime1">
              <a:rPr lang="zh-CN" altLang="en-US" smtClean="0"/>
              <a:t>2021/9/25</a:t>
            </a:fld>
            <a:endParaRPr lang="zh-CN" altLang="en-US"/>
          </a:p>
        </p:txBody>
      </p:sp>
      <p:sp>
        <p:nvSpPr>
          <p:cNvPr id="104857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中国石油大学专属答辩</a:t>
            </a:r>
            <a:r>
              <a:rPr lang="en-US" altLang="zh-CN"/>
              <a:t>PPT</a:t>
            </a:r>
            <a:r>
              <a:rPr lang="zh-CN" altLang="en-US"/>
              <a:t>模板</a:t>
            </a:r>
            <a:endParaRPr lang="zh-CN" altLang="en-US" dirty="0"/>
          </a:p>
        </p:txBody>
      </p:sp>
      <p:sp>
        <p:nvSpPr>
          <p:cNvPr id="104858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Relationship Id="rId5" Type="http://schemas.openxmlformats.org/officeDocument/2006/relationships/chart" Target="../charts/chart1.xml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image" Target="../media/image30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diagramQuickStyle" Target="../diagrams/quickStyle3.xml"/><Relationship Id="rId3" Type="http://schemas.openxmlformats.org/officeDocument/2006/relationships/tags" Target="../tags/tag11.xml"/><Relationship Id="rId7" Type="http://schemas.openxmlformats.org/officeDocument/2006/relationships/notesSlide" Target="../notesSlides/notesSlide1.xml"/><Relationship Id="rId12" Type="http://schemas.openxmlformats.org/officeDocument/2006/relationships/diagramLayout" Target="../diagrams/layou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slideLayout" Target="../slideLayouts/slideLayout5.xml"/><Relationship Id="rId11" Type="http://schemas.openxmlformats.org/officeDocument/2006/relationships/diagramData" Target="../diagrams/data3.xml"/><Relationship Id="rId5" Type="http://schemas.openxmlformats.org/officeDocument/2006/relationships/tags" Target="../tags/tag13.xml"/><Relationship Id="rId15" Type="http://schemas.microsoft.com/office/2007/relationships/diagramDrawing" Target="../diagrams/drawing3.xml"/><Relationship Id="rId10" Type="http://schemas.openxmlformats.org/officeDocument/2006/relationships/image" Target="../media/image33.png"/><Relationship Id="rId4" Type="http://schemas.openxmlformats.org/officeDocument/2006/relationships/tags" Target="../tags/tag12.xml"/><Relationship Id="rId9" Type="http://schemas.openxmlformats.org/officeDocument/2006/relationships/image" Target="../media/image32.png"/><Relationship Id="rId14" Type="http://schemas.openxmlformats.org/officeDocument/2006/relationships/diagramColors" Target="../diagrams/colors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6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slideLayout" Target="../slideLayouts/slideLayout5.xml"/><Relationship Id="rId11" Type="http://schemas.openxmlformats.org/officeDocument/2006/relationships/image" Target="../media/image34.png"/><Relationship Id="rId5" Type="http://schemas.openxmlformats.org/officeDocument/2006/relationships/tags" Target="../tags/tag18.xml"/><Relationship Id="rId10" Type="http://schemas.openxmlformats.org/officeDocument/2006/relationships/image" Target="../media/image27.png"/><Relationship Id="rId4" Type="http://schemas.openxmlformats.org/officeDocument/2006/relationships/tags" Target="../tags/tag17.xml"/><Relationship Id="rId9" Type="http://schemas.openxmlformats.org/officeDocument/2006/relationships/chart" Target="../charts/char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21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image" Target="../media/image38.png"/><Relationship Id="rId5" Type="http://schemas.openxmlformats.org/officeDocument/2006/relationships/tags" Target="../tags/tag23.xml"/><Relationship Id="rId10" Type="http://schemas.openxmlformats.org/officeDocument/2006/relationships/image" Target="../media/image37.png"/><Relationship Id="rId4" Type="http://schemas.openxmlformats.org/officeDocument/2006/relationships/tags" Target="../tags/tag22.xml"/><Relationship Id="rId9" Type="http://schemas.openxmlformats.org/officeDocument/2006/relationships/image" Target="../media/image3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diagramData" Target="../diagrams/data5.xml"/><Relationship Id="rId18" Type="http://schemas.openxmlformats.org/officeDocument/2006/relationships/diagramData" Target="../diagrams/data6.xml"/><Relationship Id="rId3" Type="http://schemas.openxmlformats.org/officeDocument/2006/relationships/tags" Target="../tags/tag27.xml"/><Relationship Id="rId21" Type="http://schemas.openxmlformats.org/officeDocument/2006/relationships/diagramColors" Target="../diagrams/colors6.xml"/><Relationship Id="rId7" Type="http://schemas.openxmlformats.org/officeDocument/2006/relationships/slideLayout" Target="../slideLayouts/slideLayout5.xml"/><Relationship Id="rId12" Type="http://schemas.microsoft.com/office/2007/relationships/diagramDrawing" Target="../diagrams/drawing4.xml"/><Relationship Id="rId17" Type="http://schemas.microsoft.com/office/2007/relationships/diagramDrawing" Target="../diagrams/drawing5.xml"/><Relationship Id="rId2" Type="http://schemas.openxmlformats.org/officeDocument/2006/relationships/tags" Target="../tags/tag26.xml"/><Relationship Id="rId16" Type="http://schemas.openxmlformats.org/officeDocument/2006/relationships/diagramColors" Target="../diagrams/colors5.xml"/><Relationship Id="rId20" Type="http://schemas.openxmlformats.org/officeDocument/2006/relationships/diagramQuickStyle" Target="../diagrams/quickStyle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diagramColors" Target="../diagrams/colors4.xml"/><Relationship Id="rId5" Type="http://schemas.openxmlformats.org/officeDocument/2006/relationships/tags" Target="../tags/tag29.xml"/><Relationship Id="rId15" Type="http://schemas.openxmlformats.org/officeDocument/2006/relationships/diagramQuickStyle" Target="../diagrams/quickStyle5.xml"/><Relationship Id="rId10" Type="http://schemas.openxmlformats.org/officeDocument/2006/relationships/diagramQuickStyle" Target="../diagrams/quickStyle4.xml"/><Relationship Id="rId19" Type="http://schemas.openxmlformats.org/officeDocument/2006/relationships/diagramLayout" Target="../diagrams/layout6.xml"/><Relationship Id="rId4" Type="http://schemas.openxmlformats.org/officeDocument/2006/relationships/tags" Target="../tags/tag28.xml"/><Relationship Id="rId9" Type="http://schemas.openxmlformats.org/officeDocument/2006/relationships/diagramLayout" Target="../diagrams/layout4.xml"/><Relationship Id="rId14" Type="http://schemas.openxmlformats.org/officeDocument/2006/relationships/diagramLayout" Target="../diagrams/layout5.xml"/><Relationship Id="rId22" Type="http://schemas.microsoft.com/office/2007/relationships/diagramDrawing" Target="../diagrams/drawing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7.xml"/><Relationship Id="rId13" Type="http://schemas.openxmlformats.org/officeDocument/2006/relationships/image" Target="../media/image40.png"/><Relationship Id="rId18" Type="http://schemas.openxmlformats.org/officeDocument/2006/relationships/image" Target="../media/image45.png"/><Relationship Id="rId3" Type="http://schemas.openxmlformats.org/officeDocument/2006/relationships/tags" Target="../tags/tag33.xml"/><Relationship Id="rId7" Type="http://schemas.openxmlformats.org/officeDocument/2006/relationships/image" Target="../media/image39.png"/><Relationship Id="rId12" Type="http://schemas.microsoft.com/office/2007/relationships/diagramDrawing" Target="../diagrams/drawing7.xml"/><Relationship Id="rId17" Type="http://schemas.openxmlformats.org/officeDocument/2006/relationships/image" Target="../media/image44.png"/><Relationship Id="rId2" Type="http://schemas.openxmlformats.org/officeDocument/2006/relationships/tags" Target="../tags/tag32.xml"/><Relationship Id="rId16" Type="http://schemas.openxmlformats.org/officeDocument/2006/relationships/image" Target="../media/image43.png"/><Relationship Id="rId1" Type="http://schemas.openxmlformats.org/officeDocument/2006/relationships/tags" Target="../tags/tag31.xml"/><Relationship Id="rId6" Type="http://schemas.openxmlformats.org/officeDocument/2006/relationships/slideLayout" Target="../slideLayouts/slideLayout5.xml"/><Relationship Id="rId11" Type="http://schemas.openxmlformats.org/officeDocument/2006/relationships/diagramColors" Target="../diagrams/colors7.xml"/><Relationship Id="rId5" Type="http://schemas.openxmlformats.org/officeDocument/2006/relationships/tags" Target="../tags/tag35.xml"/><Relationship Id="rId15" Type="http://schemas.openxmlformats.org/officeDocument/2006/relationships/image" Target="../media/image42.png"/><Relationship Id="rId10" Type="http://schemas.openxmlformats.org/officeDocument/2006/relationships/diagramQuickStyle" Target="../diagrams/quickStyle7.xml"/><Relationship Id="rId19" Type="http://schemas.openxmlformats.org/officeDocument/2006/relationships/image" Target="../media/image46.png"/><Relationship Id="rId4" Type="http://schemas.openxmlformats.org/officeDocument/2006/relationships/tags" Target="../tags/tag34.xml"/><Relationship Id="rId9" Type="http://schemas.openxmlformats.org/officeDocument/2006/relationships/diagramLayout" Target="../diagrams/layout7.xml"/><Relationship Id="rId14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0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10" Type="http://schemas.openxmlformats.org/officeDocument/2006/relationships/image" Target="../media/image40.png"/><Relationship Id="rId4" Type="http://schemas.openxmlformats.org/officeDocument/2006/relationships/image" Target="../media/image47.png"/><Relationship Id="rId9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4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omments" Target="../comments/comment1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35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049354" name="标题 3"/>
          <p:cNvSpPr>
            <a:spLocks noGrp="1"/>
          </p:cNvSpPr>
          <p:nvPr>
            <p:ph type="ctrTitle"/>
          </p:nvPr>
        </p:nvSpPr>
        <p:spPr>
          <a:xfrm>
            <a:off x="447040" y="1456055"/>
            <a:ext cx="6617335" cy="2260600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sz="6600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sym typeface="+mn-ea"/>
              </a:rPr>
              <a:t>智能化在线测试教育平台</a:t>
            </a:r>
            <a:endParaRPr lang="zh-CN" altLang="en-US" sz="6600" dirty="0">
              <a:ln w="13462">
                <a:solidFill>
                  <a:schemeClr val="bg1"/>
                </a:solidFill>
                <a:prstDash val="solid"/>
              </a:ln>
              <a:solidFill>
                <a:schemeClr val="tx1">
                  <a:lumMod val="85000"/>
                  <a:lumOff val="15000"/>
                </a:schemeClr>
              </a:solidFill>
              <a:effectLst>
                <a:outerShdw dist="38100" dir="2700000" algn="bl" rotWithShape="0">
                  <a:schemeClr val="accent5"/>
                </a:outerShdw>
              </a:effectLst>
              <a:sym typeface="+mn-ea"/>
            </a:endParaRPr>
          </a:p>
        </p:txBody>
      </p:sp>
      <p:sp>
        <p:nvSpPr>
          <p:cNvPr id="1049355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zh-CN" dirty="0"/>
              <a:t>开发者：孙百乐、徐朔、王文婕、廖集秀</a:t>
            </a:r>
          </a:p>
        </p:txBody>
      </p:sp>
      <p:sp>
        <p:nvSpPr>
          <p:cNvPr id="1049356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710512" y="5939881"/>
            <a:ext cx="10845800" cy="296271"/>
          </a:xfrm>
        </p:spPr>
        <p:txBody>
          <a:bodyPr/>
          <a:lstStyle/>
          <a:p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9</a:t>
            </a:r>
            <a:r>
              <a:rPr lang="zh-CN" altLang="en-US" dirty="0"/>
              <a:t>月</a:t>
            </a:r>
            <a:r>
              <a:rPr lang="en-US" altLang="zh-CN" dirty="0"/>
              <a:t>23</a:t>
            </a:r>
            <a:r>
              <a:rPr lang="zh-CN" altLang="en-US" dirty="0"/>
              <a:t>日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9E43925-1D9C-4997-A8D2-1E7F73CEF9F0}"/>
              </a:ext>
            </a:extLst>
          </p:cNvPr>
          <p:cNvSpPr txBox="1"/>
          <p:nvPr/>
        </p:nvSpPr>
        <p:spPr>
          <a:xfrm>
            <a:off x="620865" y="5145741"/>
            <a:ext cx="229266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500" dirty="0"/>
              <a:t>指导教师：李昕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三、教师与课程管理模块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66721E-3A9A-4832-9C70-956D5CCCFC40}" type="datetime1">
              <a:rPr lang="zh-CN" altLang="en-US" smtClean="0"/>
              <a:t>2021/9/2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中国石油大学专属答辩</a:t>
            </a:r>
            <a:r>
              <a:rPr lang="en-US" altLang="zh-CN"/>
              <a:t>PPT</a:t>
            </a:r>
            <a:r>
              <a:rPr lang="zh-CN" altLang="en-US"/>
              <a:t>模板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0</a:t>
            </a:fld>
            <a:endParaRPr lang="zh-CN" altLang="en-US"/>
          </a:p>
        </p:txBody>
      </p:sp>
      <p:pic>
        <p:nvPicPr>
          <p:cNvPr id="21" name="图片 20" descr="Cache_-781cbdd80e9a753c.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5" y="2054225"/>
            <a:ext cx="9462770" cy="4439920"/>
          </a:xfrm>
          <a:prstGeom prst="rect">
            <a:avLst/>
          </a:prstGeom>
        </p:spPr>
      </p:pic>
      <p:pic>
        <p:nvPicPr>
          <p:cNvPr id="22" name="图片 21" descr="VN~WPU{35%[YFEP6URKT$AH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470" y="1207135"/>
            <a:ext cx="1795780" cy="67945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8680450" y="1067435"/>
            <a:ext cx="248602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/>
              <a:t>学生管理界面</a:t>
            </a:r>
          </a:p>
        </p:txBody>
      </p:sp>
      <p:sp>
        <p:nvSpPr>
          <p:cNvPr id="7" name="圆角矩形 6"/>
          <p:cNvSpPr/>
          <p:nvPr/>
        </p:nvSpPr>
        <p:spPr>
          <a:xfrm>
            <a:off x="2936240" y="1207135"/>
            <a:ext cx="1873885" cy="74930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10"/>
          <p:cNvSpPr txBox="1"/>
          <p:nvPr/>
        </p:nvSpPr>
        <p:spPr>
          <a:xfrm>
            <a:off x="3042920" y="1347470"/>
            <a:ext cx="1706880" cy="7067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/>
              <a:t>在线时长展示</a:t>
            </a:r>
          </a:p>
          <a:p>
            <a:endParaRPr lang="zh-CN" altLang="en-US" sz="2000"/>
          </a:p>
        </p:txBody>
      </p:sp>
      <p:sp>
        <p:nvSpPr>
          <p:cNvPr id="13" name="圆角矩形 12"/>
          <p:cNvSpPr/>
          <p:nvPr/>
        </p:nvSpPr>
        <p:spPr>
          <a:xfrm>
            <a:off x="6118860" y="3124835"/>
            <a:ext cx="3725545" cy="202057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框 11"/>
          <p:cNvSpPr txBox="1"/>
          <p:nvPr/>
        </p:nvSpPr>
        <p:spPr>
          <a:xfrm>
            <a:off x="6298565" y="3207385"/>
            <a:ext cx="344487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/>
              <a:t>一小时登录后跳出弹框提醒，以及自动登出，记录时间并录入数据库，以便统计各个时段在线人数</a:t>
            </a:r>
          </a:p>
        </p:txBody>
      </p:sp>
      <p:sp>
        <p:nvSpPr>
          <p:cNvPr id="14" name="左箭头 13"/>
          <p:cNvSpPr/>
          <p:nvPr/>
        </p:nvSpPr>
        <p:spPr>
          <a:xfrm>
            <a:off x="5733415" y="3787140"/>
            <a:ext cx="385445" cy="502920"/>
          </a:xfrm>
          <a:prstGeom prst="leftArrow">
            <a:avLst/>
          </a:prstGeom>
          <a:solidFill>
            <a:schemeClr val="bg2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左箭头 14"/>
          <p:cNvSpPr/>
          <p:nvPr/>
        </p:nvSpPr>
        <p:spPr>
          <a:xfrm>
            <a:off x="2550795" y="1347470"/>
            <a:ext cx="385445" cy="502920"/>
          </a:xfrm>
          <a:prstGeom prst="leftArrow">
            <a:avLst/>
          </a:prstGeom>
          <a:solidFill>
            <a:schemeClr val="bg2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0675" y="4040505"/>
            <a:ext cx="3658235" cy="2200275"/>
          </a:xfrm>
          <a:prstGeom prst="rect">
            <a:avLst/>
          </a:prstGeom>
        </p:spPr>
      </p:pic>
      <p:graphicFrame>
        <p:nvGraphicFramePr>
          <p:cNvPr id="17" name="图表 16"/>
          <p:cNvGraphicFramePr/>
          <p:nvPr/>
        </p:nvGraphicFramePr>
        <p:xfrm>
          <a:off x="1557655" y="1207135"/>
          <a:ext cx="3669665" cy="2440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8" name="左箭头 17"/>
          <p:cNvSpPr/>
          <p:nvPr/>
        </p:nvSpPr>
        <p:spPr>
          <a:xfrm rot="1620000">
            <a:off x="5131435" y="2889250"/>
            <a:ext cx="1105535" cy="536575"/>
          </a:xfrm>
          <a:prstGeom prst="leftArrow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左箭头 18"/>
          <p:cNvSpPr/>
          <p:nvPr/>
        </p:nvSpPr>
        <p:spPr>
          <a:xfrm rot="19800000">
            <a:off x="5130165" y="4368800"/>
            <a:ext cx="1105535" cy="536575"/>
          </a:xfrm>
          <a:prstGeom prst="leftArrow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5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RJ1TA5L}Y@A_7)[_H0KG3WQ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6900" y="1028700"/>
            <a:ext cx="5402580" cy="3090545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zh-CN" altLang="en-US"/>
              <a:t>四、人脸识别与作弊检测模块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66721E-3A9A-4832-9C70-956D5CCCFC40}" type="datetime1">
              <a:rPr lang="zh-CN" altLang="en-US" smtClean="0"/>
              <a:t>2021/9/2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中国石油大学专属答辩</a:t>
            </a:r>
            <a:r>
              <a:rPr lang="en-US" altLang="zh-CN"/>
              <a:t>PPT</a:t>
            </a:r>
            <a:r>
              <a:rPr lang="zh-CN" altLang="en-US"/>
              <a:t>模板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1</a:t>
            </a:fld>
            <a:endParaRPr lang="zh-CN" altLang="en-US"/>
          </a:p>
        </p:txBody>
      </p:sp>
      <p:sp>
        <p:nvSpPr>
          <p:cNvPr id="9" name="矩形 8"/>
          <p:cNvSpPr/>
          <p:nvPr/>
        </p:nvSpPr>
        <p:spPr>
          <a:xfrm>
            <a:off x="1124585" y="4323080"/>
            <a:ext cx="3230880" cy="706755"/>
          </a:xfrm>
          <a:prstGeom prst="rect">
            <a:avLst/>
          </a:prstGeom>
          <a:noFill/>
          <a:ln>
            <a:noFill/>
          </a:ln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 sz="2000">
                <a:solidFill>
                  <a:schemeClr val="accent3"/>
                </a:solidFill>
                <a:sym typeface="+mn-ea"/>
              </a:rPr>
              <a:t>答题过程要求开启摄像头，</a:t>
            </a:r>
          </a:p>
          <a:p>
            <a:pPr algn="l"/>
            <a:r>
              <a:rPr lang="zh-CN" altLang="en-US" sz="2000">
                <a:solidFill>
                  <a:schemeClr val="accent3"/>
                </a:solidFill>
                <a:sym typeface="+mn-ea"/>
              </a:rPr>
              <a:t>保持人脸在摄像头内。</a:t>
            </a:r>
            <a:endParaRPr lang="zh-CN" altLang="en-US" sz="2000" b="1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11" name="图片 10" descr="RJ1TA5L}Y@A_7)[_H0KG3WQ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6900" y="1028700"/>
            <a:ext cx="5402580" cy="3090545"/>
          </a:xfrm>
          <a:prstGeom prst="rect">
            <a:avLst/>
          </a:prstGeom>
        </p:spPr>
      </p:pic>
      <p:sp>
        <p:nvSpPr>
          <p:cNvPr id="12" name="矩形 11"/>
          <p:cNvSpPr/>
          <p:nvPr/>
        </p:nvSpPr>
        <p:spPr>
          <a:xfrm>
            <a:off x="1124585" y="4323080"/>
            <a:ext cx="3230880" cy="706755"/>
          </a:xfrm>
          <a:prstGeom prst="rect">
            <a:avLst/>
          </a:prstGeom>
          <a:noFill/>
          <a:ln>
            <a:noFill/>
          </a:ln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 sz="2000">
                <a:solidFill>
                  <a:schemeClr val="accent3"/>
                </a:solidFill>
                <a:sym typeface="+mn-ea"/>
              </a:rPr>
              <a:t>答题过程要求开启摄像头，</a:t>
            </a:r>
          </a:p>
          <a:p>
            <a:pPr algn="l"/>
            <a:r>
              <a:rPr lang="zh-CN" altLang="en-US" sz="2000">
                <a:solidFill>
                  <a:schemeClr val="accent3"/>
                </a:solidFill>
                <a:sym typeface="+mn-ea"/>
              </a:rPr>
              <a:t>保持人脸在摄像头内。</a:t>
            </a:r>
            <a:endParaRPr lang="zh-CN" altLang="en-US" sz="2000" b="1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8" name="图片 7" descr="}X%(G%J`56K66}}J)A6Y]IB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5730" y="1654175"/>
            <a:ext cx="5944870" cy="3721100"/>
          </a:xfrm>
          <a:prstGeom prst="rect">
            <a:avLst/>
          </a:prstGeom>
        </p:spPr>
      </p:pic>
      <p:pic>
        <p:nvPicPr>
          <p:cNvPr id="10" name="图片 9" descr="Z8I2E}[$2S9H7J)Y(OX55IP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84875" y="2467610"/>
            <a:ext cx="5535295" cy="3969385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7474585" y="5691505"/>
            <a:ext cx="298259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>
                <a:solidFill>
                  <a:srgbClr val="FF0000"/>
                </a:solidFill>
              </a:rPr>
              <a:t>人脸匹配正确，提交后可得到分数</a:t>
            </a:r>
          </a:p>
        </p:txBody>
      </p:sp>
      <p:sp>
        <p:nvSpPr>
          <p:cNvPr id="14" name="直角上箭头 13"/>
          <p:cNvSpPr/>
          <p:nvPr/>
        </p:nvSpPr>
        <p:spPr>
          <a:xfrm rot="16200000">
            <a:off x="7945755" y="4871085"/>
            <a:ext cx="473075" cy="1005205"/>
          </a:xfrm>
          <a:prstGeom prst="bentUpArrow">
            <a:avLst>
              <a:gd name="adj1" fmla="val 26308"/>
              <a:gd name="adj2" fmla="val 25000"/>
              <a:gd name="adj3" fmla="val 25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7301865" y="1847215"/>
            <a:ext cx="4384675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2000">
                <a:solidFill>
                  <a:srgbClr val="FF0000"/>
                </a:solidFill>
              </a:rPr>
              <a:t>若检测不到人脸会对用户进行警告。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 animBg="1"/>
      <p:bldP spid="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五、成绩分析与推荐系统模块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66721E-3A9A-4832-9C70-956D5CCCFC40}" type="datetime1">
              <a:rPr lang="zh-CN" altLang="en-US" smtClean="0"/>
              <a:t>2021/9/2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中国石油大学专属答辩</a:t>
            </a:r>
            <a:r>
              <a:rPr lang="en-US" altLang="zh-CN"/>
              <a:t>PPT</a:t>
            </a:r>
            <a:r>
              <a:rPr lang="zh-CN" altLang="en-US"/>
              <a:t>模板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2</a:t>
            </a:fld>
            <a:endParaRPr lang="zh-CN" altLang="en-US"/>
          </a:p>
        </p:txBody>
      </p:sp>
      <p:pic>
        <p:nvPicPr>
          <p:cNvPr id="6" name="图片 5" descr="~N6IR@W]O_U_JSF3F%TWB4W"/>
          <p:cNvPicPr>
            <a:picLocks noChangeAspect="1"/>
          </p:cNvPicPr>
          <p:nvPr/>
        </p:nvPicPr>
        <p:blipFill>
          <a:blip r:embed="rId2"/>
          <a:srcRect b="50924"/>
          <a:stretch>
            <a:fillRect/>
          </a:stretch>
        </p:blipFill>
        <p:spPr>
          <a:xfrm>
            <a:off x="539750" y="1309370"/>
            <a:ext cx="6172835" cy="312547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2963545" y="4695825"/>
            <a:ext cx="6083300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/>
              <a:t>以AC为主要关键字，正确率为次要关键字，显示前十名同学的排名</a:t>
            </a:r>
          </a:p>
        </p:txBody>
      </p:sp>
      <p:pic>
        <p:nvPicPr>
          <p:cNvPr id="12" name="图片 11" descr="~N6IR@W]O_U_JSF3F%TWB4W"/>
          <p:cNvPicPr>
            <a:picLocks noChangeAspect="1"/>
          </p:cNvPicPr>
          <p:nvPr/>
        </p:nvPicPr>
        <p:blipFill>
          <a:blip r:embed="rId2"/>
          <a:srcRect t="46497"/>
          <a:stretch>
            <a:fillRect/>
          </a:stretch>
        </p:blipFill>
        <p:spPr>
          <a:xfrm>
            <a:off x="6464935" y="1132205"/>
            <a:ext cx="5502910" cy="303720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1894840" y="4728845"/>
            <a:ext cx="6083300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/>
              <a:t>通过对学生提交时长的分析，判断此同学是否有作弊抄袭的可能</a:t>
            </a:r>
          </a:p>
        </p:txBody>
      </p:sp>
      <p:sp>
        <p:nvSpPr>
          <p:cNvPr id="10" name="矩形 9"/>
          <p:cNvSpPr/>
          <p:nvPr/>
        </p:nvSpPr>
        <p:spPr>
          <a:xfrm>
            <a:off x="7444105" y="1334770"/>
            <a:ext cx="2728595" cy="294005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7575" y="1235075"/>
            <a:ext cx="8686165" cy="3199765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7825" y="1708150"/>
            <a:ext cx="5685790" cy="285813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rcRect b="30984"/>
          <a:stretch>
            <a:fillRect/>
          </a:stretch>
        </p:blipFill>
        <p:spPr>
          <a:xfrm>
            <a:off x="6690995" y="3556000"/>
            <a:ext cx="5050155" cy="2960370"/>
          </a:xfrm>
          <a:prstGeom prst="rect">
            <a:avLst/>
          </a:prstGeom>
        </p:spPr>
      </p:pic>
      <p:sp>
        <p:nvSpPr>
          <p:cNvPr id="15" name="右箭头 14"/>
          <p:cNvSpPr/>
          <p:nvPr/>
        </p:nvSpPr>
        <p:spPr>
          <a:xfrm>
            <a:off x="5312410" y="2980055"/>
            <a:ext cx="1567815" cy="4857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14210" y="442595"/>
            <a:ext cx="3326130" cy="302323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5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" presetClass="entr" presetSubtype="5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3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3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3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4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1" grpId="1"/>
      <p:bldP spid="8" grpId="0"/>
      <p:bldP spid="8" grpId="1"/>
      <p:bldP spid="10" grpId="0" animBg="1"/>
      <p:bldP spid="15" grpId="0" bldLvl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911" name="文本占位符 2"/>
          <p:cNvSpPr>
            <a:spLocks noGrp="1"/>
          </p:cNvSpPr>
          <p:nvPr>
            <p:ph type="body" idx="1"/>
          </p:nvPr>
        </p:nvSpPr>
        <p:spPr>
          <a:xfrm>
            <a:off x="5518785" y="2907665"/>
            <a:ext cx="5546725" cy="3418840"/>
          </a:xfrm>
        </p:spPr>
        <p:txBody>
          <a:bodyPr>
            <a:normAutofit fontScale="90000" lnSpcReduction="20000"/>
          </a:bodyPr>
          <a:lstStyle/>
          <a:p>
            <a:pPr algn="l" latinLnBrk="0">
              <a:lnSpc>
                <a:spcPct val="150000"/>
              </a:lnSpc>
              <a:buClrTx/>
              <a:buSzTx/>
            </a:pPr>
            <a:r>
              <a:rPr lang="zh-CN" altLang="en-US" sz="2400" b="1" spc="30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一、互联网与传统教育结合</a:t>
            </a:r>
          </a:p>
          <a:p>
            <a:pPr algn="l" latinLnBrk="0">
              <a:lnSpc>
                <a:spcPct val="150000"/>
              </a:lnSpc>
              <a:buClrTx/>
              <a:buSzTx/>
            </a:pPr>
            <a:r>
              <a:rPr lang="zh-CN" altLang="en-US" sz="2400" b="1" spc="30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二、智能化实时监控</a:t>
            </a:r>
          </a:p>
          <a:p>
            <a:pPr algn="l" latinLnBrk="0">
              <a:lnSpc>
                <a:spcPct val="150000"/>
              </a:lnSpc>
              <a:buClrTx/>
              <a:buSzTx/>
            </a:pPr>
            <a:r>
              <a:rPr lang="zh-CN" altLang="en-US" sz="2400" b="1" spc="30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三、智能化数据分析</a:t>
            </a:r>
          </a:p>
          <a:p>
            <a:pPr algn="l" latinLnBrk="0">
              <a:lnSpc>
                <a:spcPct val="150000"/>
              </a:lnSpc>
              <a:buClrTx/>
              <a:buSzTx/>
            </a:pPr>
            <a:r>
              <a:rPr lang="zh-CN" altLang="en-US" sz="2400" b="1" spc="30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四、智能化系统推荐</a:t>
            </a:r>
            <a:endParaRPr kumimoji="0" lang="zh-CN" altLang="en-US" sz="2400" b="1" i="0" spc="300" baseline="0" noProof="0" dirty="0">
              <a:ln w="3175">
                <a:noFill/>
                <a:prstDash val="dash"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latinLnBrk="0">
              <a:lnSpc>
                <a:spcPct val="150000"/>
              </a:lnSpc>
              <a:buClrTx/>
              <a:buSzTx/>
            </a:pPr>
            <a:r>
              <a:rPr lang="zh-CN" altLang="en-US" sz="2400" b="1" spc="30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五、高鲁棒性的判题机架构</a:t>
            </a:r>
          </a:p>
          <a:p>
            <a:pPr algn="l" latinLnBrk="0">
              <a:lnSpc>
                <a:spcPct val="150000"/>
              </a:lnSpc>
              <a:buClrTx/>
              <a:buSzTx/>
            </a:pPr>
            <a:r>
              <a:rPr lang="zh-CN" altLang="en-US" sz="2400" b="1" spc="30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六、集成开源技术</a:t>
            </a:r>
            <a:endParaRPr lang="zh-CN" altLang="en-US" sz="2400" b="1" spc="300" noProof="0" dirty="0">
              <a:ln w="3175">
                <a:noFill/>
                <a:prstDash val="dash"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400" dirty="0"/>
          </a:p>
        </p:txBody>
      </p:sp>
      <p:sp>
        <p:nvSpPr>
          <p:cNvPr id="1048912" name="文本框 5"/>
          <p:cNvSpPr txBox="1"/>
          <p:nvPr/>
        </p:nvSpPr>
        <p:spPr>
          <a:xfrm>
            <a:off x="5518785" y="1469390"/>
            <a:ext cx="2199005" cy="1296035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/>
          <a:p>
            <a:pPr algn="l"/>
            <a:r>
              <a:rPr lang="zh-CN" altLang="en-US" sz="4000" b="1" dirty="0">
                <a:solidFill>
                  <a:schemeClr val="accent2"/>
                </a:solidFill>
                <a:sym typeface="+mn-ea"/>
              </a:rPr>
              <a:t>项目亮点</a:t>
            </a:r>
            <a:endParaRPr lang="en-US" altLang="zh-CN" sz="4000" b="1" dirty="0">
              <a:solidFill>
                <a:schemeClr val="accent2"/>
              </a:solidFill>
            </a:endParaRPr>
          </a:p>
          <a:p>
            <a:pPr algn="l"/>
            <a:r>
              <a:rPr lang="en-US" altLang="zh-CN" sz="1600" b="1" dirty="0">
                <a:solidFill>
                  <a:schemeClr val="accent2"/>
                </a:solidFill>
                <a:sym typeface="+mn-ea"/>
              </a:rPr>
              <a:t>Project highlights</a:t>
            </a:r>
            <a:endParaRPr lang="en-US" altLang="zh-CN" sz="1600" b="1" dirty="0">
              <a:solidFill>
                <a:schemeClr val="accent2"/>
              </a:solidFill>
            </a:endParaRPr>
          </a:p>
        </p:txBody>
      </p:sp>
      <p:cxnSp>
        <p:nvCxnSpPr>
          <p:cNvPr id="3145740" name="直接连接符 4"/>
          <p:cNvCxnSpPr/>
          <p:nvPr/>
        </p:nvCxnSpPr>
        <p:spPr>
          <a:xfrm>
            <a:off x="5519074" y="2765585"/>
            <a:ext cx="5995670" cy="0"/>
          </a:xfrm>
          <a:prstGeom prst="line">
            <a:avLst/>
          </a:prstGeom>
          <a:ln>
            <a:solidFill>
              <a:schemeClr val="accent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图片 1" descr="C:/Users/Eternity/AppData/Local/Temp/picturecompress_20210923192952/output_1.jpgoutput_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4572000" cy="6858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/>
          <p:cNvSpPr txBox="1"/>
          <p:nvPr>
            <p:custDataLst>
              <p:tags r:id="rId2"/>
            </p:custDataLst>
          </p:nvPr>
        </p:nvSpPr>
        <p:spPr>
          <a:xfrm>
            <a:off x="612845" y="584270"/>
            <a:ext cx="10976675" cy="626701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72000" tIns="36000" rIns="72000" bIns="36000" anchor="t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ysClr val="windowText" lastClr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kumimoji="0" lang="zh-CN" altLang="en-US" sz="3600" b="1" i="0" spc="300" baseline="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亮点一</a:t>
            </a:r>
            <a:r>
              <a:rPr kumimoji="0" altLang="zh-CN" sz="3600" b="1" i="0" spc="300" baseline="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kumimoji="0" lang="zh-CN" altLang="en-US" sz="3600" b="1" i="0" spc="300" baseline="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互联网与传统教育结合</a:t>
            </a:r>
          </a:p>
        </p:txBody>
      </p:sp>
      <p:sp>
        <p:nvSpPr>
          <p:cNvPr id="7" name="Title 6"/>
          <p:cNvSpPr txBox="1"/>
          <p:nvPr>
            <p:custDataLst>
              <p:tags r:id="rId3"/>
            </p:custDataLst>
          </p:nvPr>
        </p:nvSpPr>
        <p:spPr>
          <a:xfrm>
            <a:off x="5376545" y="2308225"/>
            <a:ext cx="5540375" cy="112141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72000" tIns="36000" rIns="72000" bIns="36000" anchor="ctr" anchorCtr="0">
            <a:no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ysClr val="windowText" lastClr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Segoe UI" panose="020B0502040204020203" pitchFamily="34" charset="0"/>
              </a:defRPr>
            </a:lvl1pPr>
          </a:lstStyle>
          <a:p>
            <a:pPr algn="just">
              <a:lnSpc>
                <a:spcPct val="130000"/>
              </a:lnSpc>
              <a:spcAft>
                <a:spcPts val="800"/>
              </a:spcAft>
            </a:pPr>
            <a:r>
              <a:rPr altLang="zh-CN" sz="2400" spc="50" dirty="0">
                <a:solidFill>
                  <a:schemeClr val="accent3"/>
                </a:solidFill>
                <a:effectLst/>
                <a:uFillTx/>
                <a:latin typeface="黑体" panose="02010609060101010101" pitchFamily="49" charset="-122"/>
                <a:ea typeface="黑体" panose="02010609060101010101" pitchFamily="49" charset="-122"/>
                <a:cs typeface="微软雅黑" panose="020B0503020204020204" pitchFamily="34" charset="-122"/>
              </a:rPr>
              <a:t>  </a:t>
            </a:r>
            <a:r>
              <a:rPr lang="zh-CN" altLang="en-US" sz="2400" spc="50" dirty="0">
                <a:solidFill>
                  <a:schemeClr val="accent3"/>
                </a:solidFill>
                <a:effectLst/>
                <a:uFillTx/>
                <a:latin typeface="黑体" panose="02010609060101010101" pitchFamily="49" charset="-122"/>
                <a:ea typeface="黑体" panose="02010609060101010101" pitchFamily="49" charset="-122"/>
                <a:cs typeface="微软雅黑" panose="020B0503020204020204" pitchFamily="34" charset="-122"/>
              </a:rPr>
              <a:t>与传统教育模式相结合，实现线上教育的作业发布、在线评测和成绩管理一体化。</a:t>
            </a:r>
          </a:p>
        </p:txBody>
      </p:sp>
      <p:grpSp>
        <p:nvGrpSpPr>
          <p:cNvPr id="11" name="组合 10"/>
          <p:cNvGrpSpPr/>
          <p:nvPr>
            <p:custDataLst>
              <p:tags r:id="rId4"/>
            </p:custDataLst>
          </p:nvPr>
        </p:nvGrpSpPr>
        <p:grpSpPr>
          <a:xfrm>
            <a:off x="11400304" y="434583"/>
            <a:ext cx="203545" cy="74612"/>
            <a:chOff x="9839643" y="910585"/>
            <a:chExt cx="203545" cy="74612"/>
          </a:xfrm>
        </p:grpSpPr>
        <p:cxnSp>
          <p:nvCxnSpPr>
            <p:cNvPr id="12" name="直接连接符 11"/>
            <p:cNvCxnSpPr/>
            <p:nvPr>
              <p:custDataLst>
                <p:tags r:id="rId5"/>
              </p:custDataLst>
            </p:nvPr>
          </p:nvCxnSpPr>
          <p:spPr>
            <a:xfrm>
              <a:off x="9839643" y="910585"/>
              <a:ext cx="203545" cy="0"/>
            </a:xfrm>
            <a:prstGeom prst="line">
              <a:avLst/>
            </a:prstGeom>
            <a:ln w="12700">
              <a:solidFill>
                <a:sysClr val="windowText" lastClr="000000">
                  <a:lumMod val="75000"/>
                  <a:lumOff val="25000"/>
                </a:sysClr>
              </a:solidFill>
            </a:ln>
          </p:spPr>
          <p:style>
            <a:lnRef idx="1">
              <a:srgbClr val="8590CA"/>
            </a:lnRef>
            <a:fillRef idx="0">
              <a:srgbClr val="8590CA"/>
            </a:fillRef>
            <a:effectRef idx="0">
              <a:srgbClr val="8590CA"/>
            </a:effectRef>
            <a:fontRef idx="minor">
              <a:sysClr val="windowText" lastClr="000000"/>
            </a:fontRef>
          </p:style>
        </p:cxnSp>
        <p:cxnSp>
          <p:nvCxnSpPr>
            <p:cNvPr id="13" name="直接连接符 12"/>
            <p:cNvCxnSpPr/>
            <p:nvPr>
              <p:custDataLst>
                <p:tags r:id="rId6"/>
              </p:custDataLst>
            </p:nvPr>
          </p:nvCxnSpPr>
          <p:spPr>
            <a:xfrm>
              <a:off x="9839643" y="985197"/>
              <a:ext cx="155575" cy="0"/>
            </a:xfrm>
            <a:prstGeom prst="line">
              <a:avLst/>
            </a:prstGeom>
            <a:ln w="12700">
              <a:solidFill>
                <a:sysClr val="windowText" lastClr="000000">
                  <a:lumMod val="75000"/>
                  <a:lumOff val="25000"/>
                </a:sysClr>
              </a:solidFill>
            </a:ln>
          </p:spPr>
          <p:style>
            <a:lnRef idx="1">
              <a:srgbClr val="8590CA"/>
            </a:lnRef>
            <a:fillRef idx="0">
              <a:srgbClr val="8590CA"/>
            </a:fillRef>
            <a:effectRef idx="0">
              <a:srgbClr val="8590CA"/>
            </a:effectRef>
            <a:fontRef idx="minor">
              <a:sysClr val="windowText" lastClr="000000"/>
            </a:fontRef>
          </p:style>
        </p:cxnSp>
      </p:grpSp>
      <p:pic>
        <p:nvPicPr>
          <p:cNvPr id="4" name="图片 3" descr="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99505" y="3534410"/>
            <a:ext cx="4717415" cy="3137535"/>
          </a:xfrm>
          <a:prstGeom prst="rect">
            <a:avLst/>
          </a:prstGeom>
        </p:spPr>
      </p:pic>
      <p:pic>
        <p:nvPicPr>
          <p:cNvPr id="5" name="图片 4" descr="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2775" y="1360805"/>
            <a:ext cx="3865880" cy="287147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69265" y="4489450"/>
            <a:ext cx="4406265" cy="82994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r>
              <a:rPr lang="zh-CN" altLang="en-US" sz="2400">
                <a:solidFill>
                  <a:schemeClr val="accent3"/>
                </a:solidFill>
                <a:effectLst/>
                <a:latin typeface="黑体" panose="02010609060101010101" pitchFamily="49" charset="-122"/>
                <a:ea typeface="黑体" panose="02010609060101010101" pitchFamily="49" charset="-122"/>
              </a:rPr>
              <a:t>传统教育：老师需要进行大量机械重复的任务</a:t>
            </a:r>
          </a:p>
        </p:txBody>
      </p:sp>
      <p:sp>
        <p:nvSpPr>
          <p:cNvPr id="8" name="燕尾形箭头 7"/>
          <p:cNvSpPr/>
          <p:nvPr/>
        </p:nvSpPr>
        <p:spPr>
          <a:xfrm rot="2460000">
            <a:off x="3998595" y="3357245"/>
            <a:ext cx="2140585" cy="984885"/>
          </a:xfrm>
          <a:prstGeom prst="notched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 rot="2460000">
            <a:off x="4349115" y="3619500"/>
            <a:ext cx="144081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>
                <a:solidFill>
                  <a:schemeClr val="bg1"/>
                </a:solidFill>
              </a:rPr>
              <a:t>互联网</a:t>
            </a:r>
            <a:r>
              <a:rPr lang="en-US" altLang="zh-CN" sz="240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10" name="流程图: 可选过程 9"/>
          <p:cNvSpPr/>
          <p:nvPr/>
        </p:nvSpPr>
        <p:spPr>
          <a:xfrm>
            <a:off x="4785360" y="537845"/>
            <a:ext cx="6818630" cy="1263015"/>
          </a:xfrm>
          <a:prstGeom prst="flowChartAlternateProcess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文本框 13"/>
          <p:cNvSpPr txBox="1"/>
          <p:nvPr/>
        </p:nvSpPr>
        <p:spPr>
          <a:xfrm>
            <a:off x="5220970" y="661670"/>
            <a:ext cx="6179185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2000">
                <a:solidFill>
                  <a:schemeClr val="bg1"/>
                </a:solidFill>
              </a:rPr>
              <a:t>减少评测作业的工作量，节省时间！</a:t>
            </a:r>
          </a:p>
          <a:p>
            <a:pPr algn="l"/>
            <a:r>
              <a:rPr lang="zh-CN" altLang="en-US" sz="2000">
                <a:solidFill>
                  <a:schemeClr val="bg1"/>
                </a:solidFill>
              </a:rPr>
              <a:t>准确性高，可靠性强！</a:t>
            </a:r>
          </a:p>
          <a:p>
            <a:pPr algn="l"/>
            <a:r>
              <a:rPr lang="zh-CN" altLang="en-US" sz="2000">
                <a:solidFill>
                  <a:schemeClr val="bg1"/>
                </a:solidFill>
              </a:rPr>
              <a:t>学生及时收到反馈，尤其适合学习编程的同学使！</a:t>
            </a:r>
          </a:p>
        </p:txBody>
      </p:sp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5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  <p:bldP spid="10" grpId="0" animBg="1"/>
      <p:bldP spid="1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流程图: 可选过程 7"/>
          <p:cNvSpPr/>
          <p:nvPr/>
        </p:nvSpPr>
        <p:spPr>
          <a:xfrm>
            <a:off x="6464935" y="1647825"/>
            <a:ext cx="4999990" cy="1273810"/>
          </a:xfrm>
          <a:prstGeom prst="flowChartAlternateProcess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0070C0"/>
              </a:solidFill>
            </a:endParaRPr>
          </a:p>
        </p:txBody>
      </p:sp>
      <p:sp>
        <p:nvSpPr>
          <p:cNvPr id="43" name="圆角矩形 42"/>
          <p:cNvSpPr/>
          <p:nvPr/>
        </p:nvSpPr>
        <p:spPr>
          <a:xfrm>
            <a:off x="8998585" y="969010"/>
            <a:ext cx="2454910" cy="862330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Title 6"/>
          <p:cNvSpPr txBox="1"/>
          <p:nvPr>
            <p:custDataLst>
              <p:tags r:id="rId2"/>
            </p:custDataLst>
          </p:nvPr>
        </p:nvSpPr>
        <p:spPr>
          <a:xfrm>
            <a:off x="627450" y="608400"/>
            <a:ext cx="10976675" cy="626701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72000" tIns="36000" rIns="72000" bIns="36000" anchor="t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ysClr val="windowText" lastClr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kumimoji="0" lang="zh-CN" altLang="en-US" sz="3600" b="1" i="0" spc="300" baseline="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亮点二</a:t>
            </a:r>
            <a:r>
              <a:rPr kumimoji="0" altLang="zh-CN" sz="3600" b="1" i="0" spc="300" baseline="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kumimoji="0" lang="zh-CN" altLang="en-US" sz="3600" b="1" i="0" spc="300" baseline="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智能化实时监控</a:t>
            </a:r>
          </a:p>
        </p:txBody>
      </p:sp>
      <p:grpSp>
        <p:nvGrpSpPr>
          <p:cNvPr id="11" name="组合 10"/>
          <p:cNvGrpSpPr/>
          <p:nvPr>
            <p:custDataLst>
              <p:tags r:id="rId3"/>
            </p:custDataLst>
          </p:nvPr>
        </p:nvGrpSpPr>
        <p:grpSpPr>
          <a:xfrm>
            <a:off x="11400304" y="434583"/>
            <a:ext cx="203545" cy="74612"/>
            <a:chOff x="9839643" y="910585"/>
            <a:chExt cx="203545" cy="74612"/>
          </a:xfrm>
        </p:grpSpPr>
        <p:cxnSp>
          <p:nvCxnSpPr>
            <p:cNvPr id="12" name="直接连接符 11"/>
            <p:cNvCxnSpPr/>
            <p:nvPr>
              <p:custDataLst>
                <p:tags r:id="rId4"/>
              </p:custDataLst>
            </p:nvPr>
          </p:nvCxnSpPr>
          <p:spPr>
            <a:xfrm>
              <a:off x="9839643" y="910585"/>
              <a:ext cx="203545" cy="0"/>
            </a:xfrm>
            <a:prstGeom prst="line">
              <a:avLst/>
            </a:prstGeom>
            <a:ln w="12700">
              <a:solidFill>
                <a:sysClr val="windowText" lastClr="000000">
                  <a:lumMod val="75000"/>
                  <a:lumOff val="25000"/>
                </a:sysClr>
              </a:solidFill>
            </a:ln>
          </p:spPr>
          <p:style>
            <a:lnRef idx="1">
              <a:srgbClr val="8590CA"/>
            </a:lnRef>
            <a:fillRef idx="0">
              <a:srgbClr val="8590CA"/>
            </a:fillRef>
            <a:effectRef idx="0">
              <a:srgbClr val="8590CA"/>
            </a:effectRef>
            <a:fontRef idx="minor">
              <a:sysClr val="windowText" lastClr="000000"/>
            </a:fontRef>
          </p:style>
        </p:cxnSp>
        <p:cxnSp>
          <p:nvCxnSpPr>
            <p:cNvPr id="13" name="直接连接符 12"/>
            <p:cNvCxnSpPr/>
            <p:nvPr>
              <p:custDataLst>
                <p:tags r:id="rId5"/>
              </p:custDataLst>
            </p:nvPr>
          </p:nvCxnSpPr>
          <p:spPr>
            <a:xfrm>
              <a:off x="9839643" y="985197"/>
              <a:ext cx="155575" cy="0"/>
            </a:xfrm>
            <a:prstGeom prst="line">
              <a:avLst/>
            </a:prstGeom>
            <a:ln w="12700">
              <a:solidFill>
                <a:sysClr val="windowText" lastClr="000000">
                  <a:lumMod val="75000"/>
                  <a:lumOff val="25000"/>
                </a:sysClr>
              </a:solidFill>
            </a:ln>
          </p:spPr>
          <p:style>
            <a:lnRef idx="1">
              <a:srgbClr val="8590CA"/>
            </a:lnRef>
            <a:fillRef idx="0">
              <a:srgbClr val="8590CA"/>
            </a:fillRef>
            <a:effectRef idx="0">
              <a:srgbClr val="8590CA"/>
            </a:effectRef>
            <a:fontRef idx="minor">
              <a:sysClr val="windowText" lastClr="000000"/>
            </a:fontRef>
          </p:style>
        </p:cxnSp>
      </p:grpSp>
      <p:pic>
        <p:nvPicPr>
          <p:cNvPr id="5" name="图片 4" descr="新图网_科技人工智能眼睛图标矢量图_ixintu.com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6200000" flipV="1">
            <a:off x="8290560" y="966470"/>
            <a:ext cx="1121410" cy="81089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6819265" y="1870075"/>
            <a:ext cx="4291330" cy="82994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l"/>
            <a:r>
              <a:rPr lang="zh-CN" altLang="en-US" sz="2400" b="1" spc="50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微软雅黑 Light" panose="020B0502040204020203" pitchFamily="34" charset="-122"/>
                <a:cs typeface="微软雅黑" panose="020B0503020204020204" pitchFamily="34" charset="-122"/>
                <a:sym typeface="+mn-ea"/>
              </a:rPr>
              <a:t>创新地采用人脸识别模型对答题者的答题状态进行检测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9110345" y="1187450"/>
            <a:ext cx="223075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2400" b="1" spc="50" dirty="0">
                <a:solidFill>
                  <a:schemeClr val="bg1">
                    <a:lumMod val="95000"/>
                  </a:schemeClr>
                </a:solidFill>
                <a:effectLst/>
                <a:uFillTx/>
                <a:latin typeface="Arial" panose="020B0604020202020204" pitchFamily="34" charset="0"/>
                <a:ea typeface="微软雅黑 Light" panose="020B0502040204020203" pitchFamily="34" charset="-122"/>
                <a:cs typeface="微软雅黑" panose="020B0503020204020204" pitchFamily="34" charset="-122"/>
                <a:sym typeface="+mn-ea"/>
              </a:rPr>
              <a:t>作弊检测系统</a:t>
            </a:r>
          </a:p>
        </p:txBody>
      </p:sp>
      <p:pic>
        <p:nvPicPr>
          <p:cNvPr id="19" name="图片 18" descr="}9KD%B5L{C]E~8G]RW6LT6X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79590" y="3419475"/>
            <a:ext cx="3333750" cy="1207135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88350" y="4896485"/>
            <a:ext cx="2173605" cy="1725295"/>
          </a:xfrm>
          <a:prstGeom prst="rect">
            <a:avLst/>
          </a:prstGeom>
        </p:spPr>
      </p:pic>
      <p:sp>
        <p:nvSpPr>
          <p:cNvPr id="25" name="圆角矩形 24"/>
          <p:cNvSpPr/>
          <p:nvPr/>
        </p:nvSpPr>
        <p:spPr>
          <a:xfrm>
            <a:off x="6002655" y="4896485"/>
            <a:ext cx="1561465" cy="67945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圆角矩形 25"/>
          <p:cNvSpPr/>
          <p:nvPr/>
        </p:nvSpPr>
        <p:spPr>
          <a:xfrm>
            <a:off x="6002655" y="5777230"/>
            <a:ext cx="1561465" cy="67945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文本框 26"/>
          <p:cNvSpPr txBox="1"/>
          <p:nvPr/>
        </p:nvSpPr>
        <p:spPr>
          <a:xfrm>
            <a:off x="10356215" y="4782820"/>
            <a:ext cx="10972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>
                <a:solidFill>
                  <a:schemeClr val="bg1"/>
                </a:solidFill>
              </a:rPr>
              <a:t>人脸数量</a:t>
            </a:r>
          </a:p>
        </p:txBody>
      </p:sp>
      <p:sp>
        <p:nvSpPr>
          <p:cNvPr id="28" name="文本框 27"/>
          <p:cNvSpPr txBox="1"/>
          <p:nvPr/>
        </p:nvSpPr>
        <p:spPr>
          <a:xfrm>
            <a:off x="6235700" y="5932805"/>
            <a:ext cx="11988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>
                <a:solidFill>
                  <a:schemeClr val="bg1"/>
                </a:solidFill>
              </a:rPr>
              <a:t>人脸</a:t>
            </a:r>
            <a:r>
              <a:rPr lang="en-US" altLang="zh-CN">
                <a:solidFill>
                  <a:schemeClr val="bg1"/>
                </a:solidFill>
              </a:rPr>
              <a:t>token</a:t>
            </a:r>
          </a:p>
        </p:txBody>
      </p:sp>
      <p:cxnSp>
        <p:nvCxnSpPr>
          <p:cNvPr id="29" name="肘形连接符 28"/>
          <p:cNvCxnSpPr>
            <a:endCxn id="25" idx="1"/>
          </p:cNvCxnSpPr>
          <p:nvPr/>
        </p:nvCxnSpPr>
        <p:spPr>
          <a:xfrm rot="16200000">
            <a:off x="5558790" y="5304790"/>
            <a:ext cx="512445" cy="375285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肘形连接符 29"/>
          <p:cNvCxnSpPr>
            <a:endCxn id="26" idx="1"/>
          </p:cNvCxnSpPr>
          <p:nvPr/>
        </p:nvCxnSpPr>
        <p:spPr>
          <a:xfrm rot="5400000" flipV="1">
            <a:off x="5620385" y="5734685"/>
            <a:ext cx="408940" cy="354965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图示 31"/>
          <p:cNvGraphicFramePr/>
          <p:nvPr/>
        </p:nvGraphicFramePr>
        <p:xfrm>
          <a:off x="-114300" y="1831340"/>
          <a:ext cx="6868795" cy="43827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33" name="文本框 32"/>
          <p:cNvSpPr txBox="1"/>
          <p:nvPr/>
        </p:nvSpPr>
        <p:spPr>
          <a:xfrm>
            <a:off x="6235065" y="5052060"/>
            <a:ext cx="10972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>
                <a:solidFill>
                  <a:schemeClr val="bg1"/>
                </a:solidFill>
              </a:rPr>
              <a:t>人脸数量</a:t>
            </a:r>
          </a:p>
        </p:txBody>
      </p:sp>
      <p:cxnSp>
        <p:nvCxnSpPr>
          <p:cNvPr id="34" name="肘形连接符 33"/>
          <p:cNvCxnSpPr/>
          <p:nvPr/>
        </p:nvCxnSpPr>
        <p:spPr>
          <a:xfrm rot="16200000">
            <a:off x="5558155" y="5304790"/>
            <a:ext cx="512445" cy="375285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肘形连接符 34"/>
          <p:cNvCxnSpPr/>
          <p:nvPr/>
        </p:nvCxnSpPr>
        <p:spPr>
          <a:xfrm rot="5400000" flipV="1">
            <a:off x="5620385" y="5734685"/>
            <a:ext cx="408940" cy="354965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43" grpId="0" animBg="1"/>
      <p:bldP spid="6" grpId="0"/>
      <p:bldP spid="16" grpId="0"/>
      <p:bldP spid="25" grpId="0" animBg="1"/>
      <p:bldP spid="26" grpId="0" animBg="1"/>
      <p:bldP spid="28" grpId="0"/>
      <p:bldP spid="3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/>
          <p:cNvSpPr txBox="1"/>
          <p:nvPr>
            <p:custDataLst>
              <p:tags r:id="rId2"/>
            </p:custDataLst>
          </p:nvPr>
        </p:nvSpPr>
        <p:spPr>
          <a:xfrm>
            <a:off x="608400" y="608400"/>
            <a:ext cx="10976675" cy="626701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72000" tIns="36000" rIns="72000" bIns="36000" anchor="t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ysClr val="windowText" lastClr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kumimoji="0" lang="zh-CN" altLang="en-US" sz="3600" b="1" i="0" spc="300" baseline="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亮点三</a:t>
            </a:r>
            <a:r>
              <a:rPr kumimoji="0" altLang="zh-CN" sz="3600" b="1" i="0" spc="300" baseline="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kumimoji="0" lang="zh-CN" altLang="en-US" sz="3600" b="1" i="0" spc="300" baseline="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智能化数据分析</a:t>
            </a:r>
          </a:p>
        </p:txBody>
      </p:sp>
      <p:grpSp>
        <p:nvGrpSpPr>
          <p:cNvPr id="11" name="组合 10"/>
          <p:cNvGrpSpPr/>
          <p:nvPr>
            <p:custDataLst>
              <p:tags r:id="rId3"/>
            </p:custDataLst>
          </p:nvPr>
        </p:nvGrpSpPr>
        <p:grpSpPr>
          <a:xfrm>
            <a:off x="11400304" y="434583"/>
            <a:ext cx="203545" cy="74612"/>
            <a:chOff x="9839643" y="910585"/>
            <a:chExt cx="203545" cy="74612"/>
          </a:xfrm>
        </p:grpSpPr>
        <p:cxnSp>
          <p:nvCxnSpPr>
            <p:cNvPr id="12" name="直接连接符 11"/>
            <p:cNvCxnSpPr/>
            <p:nvPr>
              <p:custDataLst>
                <p:tags r:id="rId4"/>
              </p:custDataLst>
            </p:nvPr>
          </p:nvCxnSpPr>
          <p:spPr>
            <a:xfrm>
              <a:off x="9839643" y="910585"/>
              <a:ext cx="203545" cy="0"/>
            </a:xfrm>
            <a:prstGeom prst="line">
              <a:avLst/>
            </a:prstGeom>
            <a:ln w="12700">
              <a:solidFill>
                <a:sysClr val="windowText" lastClr="000000">
                  <a:lumMod val="75000"/>
                  <a:lumOff val="25000"/>
                </a:sysClr>
              </a:solidFill>
            </a:ln>
          </p:spPr>
          <p:style>
            <a:lnRef idx="1">
              <a:srgbClr val="8590CA"/>
            </a:lnRef>
            <a:fillRef idx="0">
              <a:srgbClr val="8590CA"/>
            </a:fillRef>
            <a:effectRef idx="0">
              <a:srgbClr val="8590CA"/>
            </a:effectRef>
            <a:fontRef idx="minor">
              <a:sysClr val="windowText" lastClr="000000"/>
            </a:fontRef>
          </p:style>
        </p:cxnSp>
        <p:cxnSp>
          <p:nvCxnSpPr>
            <p:cNvPr id="13" name="直接连接符 12"/>
            <p:cNvCxnSpPr/>
            <p:nvPr>
              <p:custDataLst>
                <p:tags r:id="rId5"/>
              </p:custDataLst>
            </p:nvPr>
          </p:nvCxnSpPr>
          <p:spPr>
            <a:xfrm>
              <a:off x="9839643" y="985197"/>
              <a:ext cx="155575" cy="0"/>
            </a:xfrm>
            <a:prstGeom prst="line">
              <a:avLst/>
            </a:prstGeom>
            <a:ln w="12700">
              <a:solidFill>
                <a:sysClr val="windowText" lastClr="000000">
                  <a:lumMod val="75000"/>
                  <a:lumOff val="25000"/>
                </a:sysClr>
              </a:solidFill>
            </a:ln>
          </p:spPr>
          <p:style>
            <a:lnRef idx="1">
              <a:srgbClr val="8590CA"/>
            </a:lnRef>
            <a:fillRef idx="0">
              <a:srgbClr val="8590CA"/>
            </a:fillRef>
            <a:effectRef idx="0">
              <a:srgbClr val="8590CA"/>
            </a:effectRef>
            <a:fontRef idx="minor">
              <a:sysClr val="windowText" lastClr="000000"/>
            </a:fontRef>
          </p:style>
        </p:cxnSp>
      </p:grpSp>
      <p:pic>
        <p:nvPicPr>
          <p:cNvPr id="4" name="图片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2180" y="1461770"/>
            <a:ext cx="3270885" cy="1967230"/>
          </a:xfrm>
          <a:prstGeom prst="rect">
            <a:avLst/>
          </a:prstGeom>
        </p:spPr>
      </p:pic>
      <p:graphicFrame>
        <p:nvGraphicFramePr>
          <p:cNvPr id="10" name="图表 9"/>
          <p:cNvGraphicFramePr/>
          <p:nvPr/>
        </p:nvGraphicFramePr>
        <p:xfrm>
          <a:off x="932180" y="3586480"/>
          <a:ext cx="3271520" cy="2296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pic>
        <p:nvPicPr>
          <p:cNvPr id="14" name="图片 1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49140" y="1461770"/>
            <a:ext cx="3326130" cy="3023235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953375" y="1461770"/>
            <a:ext cx="3890010" cy="1982470"/>
          </a:xfrm>
          <a:prstGeom prst="rect">
            <a:avLst/>
          </a:prstGeom>
        </p:spPr>
      </p:pic>
      <p:sp>
        <p:nvSpPr>
          <p:cNvPr id="18" name="圆角矩形 17"/>
          <p:cNvSpPr/>
          <p:nvPr/>
        </p:nvSpPr>
        <p:spPr>
          <a:xfrm>
            <a:off x="5041900" y="5011420"/>
            <a:ext cx="6562090" cy="135953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文本框 18"/>
          <p:cNvSpPr txBox="1"/>
          <p:nvPr/>
        </p:nvSpPr>
        <p:spPr>
          <a:xfrm>
            <a:off x="5436235" y="5092065"/>
            <a:ext cx="552323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>
                <a:solidFill>
                  <a:schemeClr val="bg1">
                    <a:lumMod val="85000"/>
                  </a:schemeClr>
                </a:solidFill>
              </a:rPr>
              <a:t>针对在线时长、题目分数、用户专业等进行</a:t>
            </a:r>
            <a:r>
              <a:rPr lang="zh-CN" altLang="en-US" sz="240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数据可视化分析</a:t>
            </a:r>
            <a:r>
              <a:rPr lang="zh-CN" altLang="en-US" sz="2400">
                <a:solidFill>
                  <a:schemeClr val="bg1">
                    <a:lumMod val="85000"/>
                  </a:schemeClr>
                </a:solidFill>
              </a:rPr>
              <a:t>，方便学生和教师迅速获取信息，提高工作学习效率！</a:t>
            </a:r>
          </a:p>
        </p:txBody>
      </p:sp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/>
          <p:cNvSpPr txBox="1"/>
          <p:nvPr>
            <p:custDataLst>
              <p:tags r:id="rId2"/>
            </p:custDataLst>
          </p:nvPr>
        </p:nvSpPr>
        <p:spPr>
          <a:xfrm>
            <a:off x="210890" y="340430"/>
            <a:ext cx="10976675" cy="626701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72000" tIns="36000" rIns="72000" bIns="36000" anchor="t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ysClr val="windowText" lastClr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kumimoji="0" lang="zh-CN" altLang="en-US" sz="3200" b="1" i="0" spc="300" baseline="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亮点四 智能化的推荐系统</a:t>
            </a:r>
          </a:p>
        </p:txBody>
      </p:sp>
      <p:grpSp>
        <p:nvGrpSpPr>
          <p:cNvPr id="11" name="组合 10"/>
          <p:cNvGrpSpPr/>
          <p:nvPr>
            <p:custDataLst>
              <p:tags r:id="rId3"/>
            </p:custDataLst>
          </p:nvPr>
        </p:nvGrpSpPr>
        <p:grpSpPr>
          <a:xfrm>
            <a:off x="11400304" y="434583"/>
            <a:ext cx="203545" cy="74612"/>
            <a:chOff x="9839643" y="910585"/>
            <a:chExt cx="203545" cy="74612"/>
          </a:xfrm>
        </p:grpSpPr>
        <p:cxnSp>
          <p:nvCxnSpPr>
            <p:cNvPr id="12" name="直接连接符 11"/>
            <p:cNvCxnSpPr/>
            <p:nvPr>
              <p:custDataLst>
                <p:tags r:id="rId5"/>
              </p:custDataLst>
            </p:nvPr>
          </p:nvCxnSpPr>
          <p:spPr>
            <a:xfrm>
              <a:off x="9839643" y="910585"/>
              <a:ext cx="203545" cy="0"/>
            </a:xfrm>
            <a:prstGeom prst="line">
              <a:avLst/>
            </a:prstGeom>
            <a:ln w="12700">
              <a:solidFill>
                <a:sysClr val="windowText" lastClr="000000">
                  <a:lumMod val="75000"/>
                  <a:lumOff val="25000"/>
                </a:sysClr>
              </a:solidFill>
            </a:ln>
          </p:spPr>
          <p:style>
            <a:lnRef idx="1">
              <a:srgbClr val="8590CA"/>
            </a:lnRef>
            <a:fillRef idx="0">
              <a:srgbClr val="8590CA"/>
            </a:fillRef>
            <a:effectRef idx="0">
              <a:srgbClr val="8590CA"/>
            </a:effectRef>
            <a:fontRef idx="minor">
              <a:sysClr val="windowText" lastClr="000000"/>
            </a:fontRef>
          </p:style>
        </p:cxnSp>
        <p:cxnSp>
          <p:nvCxnSpPr>
            <p:cNvPr id="13" name="直接连接符 12"/>
            <p:cNvCxnSpPr/>
            <p:nvPr>
              <p:custDataLst>
                <p:tags r:id="rId6"/>
              </p:custDataLst>
            </p:nvPr>
          </p:nvCxnSpPr>
          <p:spPr>
            <a:xfrm>
              <a:off x="9839643" y="985197"/>
              <a:ext cx="155575" cy="0"/>
            </a:xfrm>
            <a:prstGeom prst="line">
              <a:avLst/>
            </a:prstGeom>
            <a:ln w="12700">
              <a:solidFill>
                <a:sysClr val="windowText" lastClr="000000">
                  <a:lumMod val="75000"/>
                  <a:lumOff val="25000"/>
                </a:sysClr>
              </a:solidFill>
            </a:ln>
          </p:spPr>
          <p:style>
            <a:lnRef idx="1">
              <a:srgbClr val="8590CA"/>
            </a:lnRef>
            <a:fillRef idx="0">
              <a:srgbClr val="8590CA"/>
            </a:fillRef>
            <a:effectRef idx="0">
              <a:srgbClr val="8590CA"/>
            </a:effectRef>
            <a:fontRef idx="minor">
              <a:sysClr val="windowText" lastClr="000000"/>
            </a:fontRef>
          </p:style>
        </p:cxnSp>
      </p:grpSp>
      <p:sp>
        <p:nvSpPr>
          <p:cNvPr id="29" name="文本框 28"/>
          <p:cNvSpPr txBox="1"/>
          <p:nvPr/>
        </p:nvSpPr>
        <p:spPr>
          <a:xfrm>
            <a:off x="8669020" y="5546725"/>
            <a:ext cx="10972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>
                <a:solidFill>
                  <a:schemeClr val="bg1"/>
                </a:solidFill>
              </a:rPr>
              <a:t>数据库</a:t>
            </a:r>
          </a:p>
        </p:txBody>
      </p:sp>
      <p:pic>
        <p:nvPicPr>
          <p:cNvPr id="4" name="图片 3" descr="{CVFSBGT5~}]Z1J9J$I9QF0"/>
          <p:cNvPicPr>
            <a:picLocks noChangeAspect="1"/>
          </p:cNvPicPr>
          <p:nvPr/>
        </p:nvPicPr>
        <p:blipFill>
          <a:blip r:embed="rId8"/>
          <a:srcRect t="8954"/>
          <a:stretch>
            <a:fillRect/>
          </a:stretch>
        </p:blipFill>
        <p:spPr>
          <a:xfrm>
            <a:off x="7149465" y="154940"/>
            <a:ext cx="3575685" cy="4041775"/>
          </a:xfrm>
          <a:prstGeom prst="rect">
            <a:avLst/>
          </a:prstGeom>
        </p:spPr>
      </p:pic>
      <p:sp>
        <p:nvSpPr>
          <p:cNvPr id="3" name="流程图: 可选过程 2"/>
          <p:cNvSpPr/>
          <p:nvPr/>
        </p:nvSpPr>
        <p:spPr>
          <a:xfrm>
            <a:off x="1265555" y="1466215"/>
            <a:ext cx="4860290" cy="1167765"/>
          </a:xfrm>
          <a:prstGeom prst="flowChartAlternateProcess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0070C0"/>
              </a:solidFill>
            </a:endParaRPr>
          </a:p>
        </p:txBody>
      </p:sp>
      <p:sp>
        <p:nvSpPr>
          <p:cNvPr id="15" name="Title 6"/>
          <p:cNvSpPr txBox="1"/>
          <p:nvPr>
            <p:custDataLst>
              <p:tags r:id="rId4"/>
            </p:custDataLst>
          </p:nvPr>
        </p:nvSpPr>
        <p:spPr>
          <a:xfrm>
            <a:off x="2011680" y="1513205"/>
            <a:ext cx="3977005" cy="107315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72000" tIns="36000" rIns="72000" bIns="36000" anchor="ctr" anchorCtr="0">
            <a:no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ysClr val="windowText" lastClr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Segoe UI" panose="020B0502040204020203" pitchFamily="34" charset="0"/>
              </a:defRPr>
            </a:lvl1pPr>
          </a:lstStyle>
          <a:p>
            <a:pPr algn="just">
              <a:lnSpc>
                <a:spcPct val="130000"/>
              </a:lnSpc>
              <a:spcAft>
                <a:spcPts val="800"/>
              </a:spcAft>
            </a:pPr>
            <a:r>
              <a:rPr lang="zh-CN" altLang="en-US" sz="2400" b="1" spc="50" dirty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Arial" panose="020B0604020202020204" pitchFamily="34" charset="0"/>
                <a:ea typeface="微软雅黑 Light" panose="020B0502040204020203" pitchFamily="34" charset="-122"/>
                <a:cs typeface="微软雅黑" panose="020B0503020204020204" pitchFamily="34" charset="-122"/>
              </a:rPr>
              <a:t>针对性地为用户推荐更适合个人的题目</a:t>
            </a:r>
          </a:p>
        </p:txBody>
      </p:sp>
      <p:sp>
        <p:nvSpPr>
          <p:cNvPr id="17" name="í$ḷíde"/>
          <p:cNvSpPr/>
          <p:nvPr/>
        </p:nvSpPr>
        <p:spPr>
          <a:xfrm>
            <a:off x="358140" y="1275715"/>
            <a:ext cx="1525905" cy="145542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488950" y="1588135"/>
            <a:ext cx="126492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2400" b="1" spc="50" dirty="0">
                <a:solidFill>
                  <a:schemeClr val="bg1">
                    <a:lumMod val="95000"/>
                  </a:schemeClr>
                </a:solidFill>
                <a:effectLst/>
                <a:uFillTx/>
                <a:latin typeface="Arial" panose="020B0604020202020204" pitchFamily="34" charset="0"/>
                <a:ea typeface="微软雅黑 Light" panose="020B0502040204020203" pitchFamily="34" charset="-122"/>
                <a:cs typeface="微软雅黑" panose="020B0503020204020204" pitchFamily="34" charset="-122"/>
                <a:sym typeface="+mn-ea"/>
              </a:rPr>
              <a:t>题目推荐系统</a:t>
            </a:r>
          </a:p>
        </p:txBody>
      </p:sp>
      <p:sp>
        <p:nvSpPr>
          <p:cNvPr id="16" name="圆角矩形 15"/>
          <p:cNvSpPr/>
          <p:nvPr/>
        </p:nvSpPr>
        <p:spPr>
          <a:xfrm>
            <a:off x="952500" y="3078480"/>
            <a:ext cx="862330" cy="240474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文本框 22"/>
          <p:cNvSpPr txBox="1"/>
          <p:nvPr/>
        </p:nvSpPr>
        <p:spPr>
          <a:xfrm>
            <a:off x="1135380" y="3250565"/>
            <a:ext cx="618490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构建个人错题集</a:t>
            </a:r>
          </a:p>
        </p:txBody>
      </p:sp>
      <p:sp>
        <p:nvSpPr>
          <p:cNvPr id="25" name="右箭头 24"/>
          <p:cNvSpPr/>
          <p:nvPr/>
        </p:nvSpPr>
        <p:spPr>
          <a:xfrm>
            <a:off x="1946275" y="3889375"/>
            <a:ext cx="1156335" cy="517525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圆角矩形 29"/>
          <p:cNvSpPr/>
          <p:nvPr/>
        </p:nvSpPr>
        <p:spPr>
          <a:xfrm>
            <a:off x="5319395" y="2973070"/>
            <a:ext cx="1024255" cy="245427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文本框 30"/>
          <p:cNvSpPr txBox="1"/>
          <p:nvPr/>
        </p:nvSpPr>
        <p:spPr>
          <a:xfrm>
            <a:off x="5319395" y="3127375"/>
            <a:ext cx="46672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匹配相同水平同学</a:t>
            </a:r>
          </a:p>
        </p:txBody>
      </p:sp>
      <p:sp>
        <p:nvSpPr>
          <p:cNvPr id="32" name="文本框 31"/>
          <p:cNvSpPr txBox="1"/>
          <p:nvPr/>
        </p:nvSpPr>
        <p:spPr>
          <a:xfrm>
            <a:off x="5674360" y="3078480"/>
            <a:ext cx="31432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>
                <a:sym typeface="+mn-ea"/>
              </a:rPr>
              <a:t>错题集</a:t>
            </a:r>
            <a:endParaRPr lang="zh-CN" altLang="en-US"/>
          </a:p>
          <a:p>
            <a:r>
              <a:rPr lang="zh-CN" altLang="en-US"/>
              <a:t>相关知识点</a:t>
            </a:r>
          </a:p>
        </p:txBody>
      </p:sp>
      <p:sp>
        <p:nvSpPr>
          <p:cNvPr id="33" name="右箭头 32"/>
          <p:cNvSpPr/>
          <p:nvPr/>
        </p:nvSpPr>
        <p:spPr>
          <a:xfrm>
            <a:off x="4090035" y="3941445"/>
            <a:ext cx="1156335" cy="517525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圆角矩形 33"/>
          <p:cNvSpPr/>
          <p:nvPr/>
        </p:nvSpPr>
        <p:spPr>
          <a:xfrm>
            <a:off x="3183890" y="3028950"/>
            <a:ext cx="751205" cy="245427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文本框 34"/>
          <p:cNvSpPr txBox="1"/>
          <p:nvPr/>
        </p:nvSpPr>
        <p:spPr>
          <a:xfrm>
            <a:off x="3285490" y="3185160"/>
            <a:ext cx="466725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错题知识点总结</a:t>
            </a:r>
          </a:p>
        </p:txBody>
      </p:sp>
      <p:sp>
        <p:nvSpPr>
          <p:cNvPr id="37" name="文本框 36"/>
          <p:cNvSpPr txBox="1"/>
          <p:nvPr/>
        </p:nvSpPr>
        <p:spPr>
          <a:xfrm>
            <a:off x="5988685" y="3185160"/>
            <a:ext cx="253365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>
                <a:sym typeface="+mn-ea"/>
              </a:rPr>
              <a:t>题目</a:t>
            </a:r>
            <a:endParaRPr lang="zh-CN" altLang="en-US"/>
          </a:p>
          <a:p>
            <a:endParaRPr lang="zh-CN" altLang="en-US"/>
          </a:p>
        </p:txBody>
      </p:sp>
      <p:pic>
        <p:nvPicPr>
          <p:cNvPr id="45" name="图片 44" descr="[6]SHN9KO`ZX1{Y3E{M6}H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89880" y="951865"/>
            <a:ext cx="6010275" cy="2914650"/>
          </a:xfrm>
          <a:prstGeom prst="rect">
            <a:avLst/>
          </a:prstGeom>
        </p:spPr>
      </p:pic>
      <p:pic>
        <p:nvPicPr>
          <p:cNvPr id="44" name="图片 43" descr="图片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21335" y="520700"/>
            <a:ext cx="6083300" cy="6588125"/>
          </a:xfrm>
          <a:prstGeom prst="rect">
            <a:avLst/>
          </a:prstGeom>
        </p:spPr>
      </p:pic>
      <p:pic>
        <p:nvPicPr>
          <p:cNvPr id="46" name="图片 45" descr="Q(9L%R~8KQ{HW`P)W)}@Y61"/>
          <p:cNvPicPr>
            <a:picLocks noChangeAspect="1"/>
          </p:cNvPicPr>
          <p:nvPr/>
        </p:nvPicPr>
        <p:blipFill>
          <a:blip r:embed="rId11"/>
          <a:srcRect t="36362"/>
          <a:stretch>
            <a:fillRect/>
          </a:stretch>
        </p:blipFill>
        <p:spPr>
          <a:xfrm>
            <a:off x="5106035" y="3335020"/>
            <a:ext cx="6162040" cy="363855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" presetClass="entr" presetSubtype="5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2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流程图: 顺序访问存储器 5"/>
          <p:cNvSpPr/>
          <p:nvPr/>
        </p:nvSpPr>
        <p:spPr>
          <a:xfrm>
            <a:off x="0" y="3514090"/>
            <a:ext cx="5720715" cy="3093085"/>
          </a:xfrm>
          <a:prstGeom prst="flowChartMagneticTap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流程图: 顺序访问存储器 4"/>
          <p:cNvSpPr/>
          <p:nvPr/>
        </p:nvSpPr>
        <p:spPr>
          <a:xfrm>
            <a:off x="607695" y="1477010"/>
            <a:ext cx="4464050" cy="2130425"/>
          </a:xfrm>
          <a:prstGeom prst="flowChartMagneticTap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Title 6"/>
          <p:cNvSpPr txBox="1"/>
          <p:nvPr>
            <p:custDataLst>
              <p:tags r:id="rId2"/>
            </p:custDataLst>
          </p:nvPr>
        </p:nvSpPr>
        <p:spPr>
          <a:xfrm>
            <a:off x="221050" y="370910"/>
            <a:ext cx="10976675" cy="626701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72000" tIns="36000" rIns="72000" bIns="36000" anchor="t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ysClr val="windowText" lastClr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kumimoji="0" lang="zh-CN" altLang="en-US" sz="3200" b="1" i="0" spc="300" baseline="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亮点五</a:t>
            </a:r>
            <a:r>
              <a:rPr kumimoji="0" altLang="zh-CN" sz="3200" b="1" i="0" spc="300" baseline="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kumimoji="0" lang="zh-CN" altLang="en-US" sz="3200" b="1" i="0" spc="300" baseline="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高鲁棒性的判题机架构</a:t>
            </a:r>
          </a:p>
        </p:txBody>
      </p:sp>
      <p:sp>
        <p:nvSpPr>
          <p:cNvPr id="7" name="Title 6"/>
          <p:cNvSpPr txBox="1"/>
          <p:nvPr>
            <p:custDataLst>
              <p:tags r:id="rId3"/>
            </p:custDataLst>
          </p:nvPr>
        </p:nvSpPr>
        <p:spPr>
          <a:xfrm>
            <a:off x="887095" y="4026535"/>
            <a:ext cx="4267835" cy="1781175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72000" tIns="36000" rIns="72000" bIns="360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ysClr val="windowText" lastClr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Segoe UI" panose="020B0502040204020203" pitchFamily="34" charset="0"/>
              </a:defRPr>
            </a:lvl1pPr>
          </a:lstStyle>
          <a:p>
            <a:pPr algn="just">
              <a:lnSpc>
                <a:spcPct val="130000"/>
              </a:lnSpc>
              <a:spcAft>
                <a:spcPts val="800"/>
              </a:spcAft>
            </a:pPr>
            <a:endParaRPr lang="zh-CN" altLang="en-US" sz="2400" spc="50" dirty="0">
              <a:ln w="3175">
                <a:noFill/>
                <a:prstDash val="dash"/>
              </a:ln>
              <a:solidFill>
                <a:sysClr val="windowText" lastClr="000000">
                  <a:lumMod val="65000"/>
                  <a:lumOff val="35000"/>
                </a:sysClr>
              </a:solidFill>
              <a:uFillTx/>
              <a:latin typeface="Arial" panose="020B0604020202020204" pitchFamily="34" charset="0"/>
              <a:ea typeface="微软雅黑 Light" panose="020B0502040204020203" pitchFamily="34" charset="-122"/>
              <a:cs typeface="微软雅黑" panose="020B0503020204020204" pitchFamily="34" charset="-122"/>
            </a:endParaRPr>
          </a:p>
          <a:p>
            <a:pPr algn="just">
              <a:lnSpc>
                <a:spcPct val="130000"/>
              </a:lnSpc>
              <a:spcAft>
                <a:spcPts val="800"/>
              </a:spcAft>
            </a:pPr>
            <a:r>
              <a:rPr lang="zh-CN" altLang="en-US" sz="2400" spc="50" dirty="0">
                <a:ln w="3175">
                  <a:noFill/>
                  <a:prstDash val="dash"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uFillTx/>
                <a:latin typeface="Arial" panose="020B0604020202020204" pitchFamily="34" charset="0"/>
                <a:ea typeface="微软雅黑 Light" panose="020B0502040204020203" pitchFamily="34" charset="-122"/>
                <a:cs typeface="微软雅黑" panose="020B0503020204020204" pitchFamily="34" charset="-122"/>
              </a:rPr>
              <a:t>封装到docker容器中，运行多个容器能实现多个判题机</a:t>
            </a:r>
            <a:r>
              <a:rPr lang="zh-CN" altLang="en-US" sz="2400" b="1" spc="50" dirty="0">
                <a:ln w="3175">
                  <a:noFill/>
                  <a:prstDash val="dash"/>
                </a:ln>
                <a:solidFill>
                  <a:schemeClr val="tx1"/>
                </a:solidFill>
                <a:uFillTx/>
                <a:latin typeface="+mj-ea"/>
                <a:ea typeface="+mj-ea"/>
                <a:cs typeface="微软雅黑" panose="020B0503020204020204" pitchFamily="34" charset="-122"/>
              </a:rPr>
              <a:t>同时运行</a:t>
            </a:r>
            <a:r>
              <a:rPr lang="zh-CN" altLang="en-US" sz="2400" spc="50" dirty="0">
                <a:ln w="3175">
                  <a:noFill/>
                  <a:prstDash val="dash"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uFillTx/>
                <a:latin typeface="Arial" panose="020B0604020202020204" pitchFamily="34" charset="0"/>
                <a:ea typeface="微软雅黑 Light" panose="020B0502040204020203" pitchFamily="34" charset="-122"/>
                <a:cs typeface="微软雅黑" panose="020B0503020204020204" pitchFamily="34" charset="-122"/>
              </a:rPr>
              <a:t>，且这些判题机可以在任意的机器上运行。</a:t>
            </a:r>
          </a:p>
        </p:txBody>
      </p:sp>
      <p:grpSp>
        <p:nvGrpSpPr>
          <p:cNvPr id="11" name="组合 10"/>
          <p:cNvGrpSpPr/>
          <p:nvPr>
            <p:custDataLst>
              <p:tags r:id="rId4"/>
            </p:custDataLst>
          </p:nvPr>
        </p:nvGrpSpPr>
        <p:grpSpPr>
          <a:xfrm>
            <a:off x="11400304" y="434583"/>
            <a:ext cx="203545" cy="74612"/>
            <a:chOff x="9839643" y="910585"/>
            <a:chExt cx="203545" cy="74612"/>
          </a:xfrm>
        </p:grpSpPr>
        <p:cxnSp>
          <p:nvCxnSpPr>
            <p:cNvPr id="12" name="直接连接符 11"/>
            <p:cNvCxnSpPr/>
            <p:nvPr>
              <p:custDataLst>
                <p:tags r:id="rId5"/>
              </p:custDataLst>
            </p:nvPr>
          </p:nvCxnSpPr>
          <p:spPr>
            <a:xfrm>
              <a:off x="9839643" y="910585"/>
              <a:ext cx="203545" cy="0"/>
            </a:xfrm>
            <a:prstGeom prst="line">
              <a:avLst/>
            </a:prstGeom>
            <a:ln w="12700">
              <a:solidFill>
                <a:sysClr val="windowText" lastClr="000000">
                  <a:lumMod val="75000"/>
                  <a:lumOff val="25000"/>
                </a:sysClr>
              </a:solidFill>
            </a:ln>
          </p:spPr>
          <p:style>
            <a:lnRef idx="1">
              <a:srgbClr val="8590CA"/>
            </a:lnRef>
            <a:fillRef idx="0">
              <a:srgbClr val="8590CA"/>
            </a:fillRef>
            <a:effectRef idx="0">
              <a:srgbClr val="8590CA"/>
            </a:effectRef>
            <a:fontRef idx="minor">
              <a:sysClr val="windowText" lastClr="000000"/>
            </a:fontRef>
          </p:style>
        </p:cxnSp>
        <p:cxnSp>
          <p:nvCxnSpPr>
            <p:cNvPr id="13" name="直接连接符 12"/>
            <p:cNvCxnSpPr/>
            <p:nvPr>
              <p:custDataLst>
                <p:tags r:id="rId6"/>
              </p:custDataLst>
            </p:nvPr>
          </p:nvCxnSpPr>
          <p:spPr>
            <a:xfrm>
              <a:off x="9839643" y="985197"/>
              <a:ext cx="155575" cy="0"/>
            </a:xfrm>
            <a:prstGeom prst="line">
              <a:avLst/>
            </a:prstGeom>
            <a:ln w="12700">
              <a:solidFill>
                <a:sysClr val="windowText" lastClr="000000">
                  <a:lumMod val="75000"/>
                  <a:lumOff val="25000"/>
                </a:sysClr>
              </a:solidFill>
            </a:ln>
          </p:spPr>
          <p:style>
            <a:lnRef idx="1">
              <a:srgbClr val="8590CA"/>
            </a:lnRef>
            <a:fillRef idx="0">
              <a:srgbClr val="8590CA"/>
            </a:fillRef>
            <a:effectRef idx="0">
              <a:srgbClr val="8590CA"/>
            </a:effectRef>
            <a:fontRef idx="minor">
              <a:sysClr val="windowText" lastClr="000000"/>
            </a:fontRef>
          </p:style>
        </p:cxnSp>
      </p:grpSp>
      <p:sp>
        <p:nvSpPr>
          <p:cNvPr id="8" name="文本框 7"/>
          <p:cNvSpPr txBox="1"/>
          <p:nvPr/>
        </p:nvSpPr>
        <p:spPr>
          <a:xfrm>
            <a:off x="1489710" y="1847850"/>
            <a:ext cx="306324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altLang="zh-CN" sz="2400" spc="50" dirty="0">
                <a:ln w="3175">
                  <a:noFill/>
                  <a:prstDash val="dash"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uFillTx/>
                <a:latin typeface="Arial" panose="020B0604020202020204" pitchFamily="34" charset="0"/>
                <a:ea typeface="微软雅黑 Light" panose="020B0502040204020203" pitchFamily="34" charset="-122"/>
                <a:cs typeface="微软雅黑" panose="020B0503020204020204" pitchFamily="34" charset="-122"/>
                <a:sym typeface="+mn-ea"/>
              </a:rPr>
              <a:t> </a:t>
            </a:r>
            <a:r>
              <a:rPr lang="zh-CN" altLang="en-US" sz="2400" spc="50" dirty="0">
                <a:ln w="3175">
                  <a:noFill/>
                  <a:prstDash val="dash"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uFillTx/>
                <a:latin typeface="Arial" panose="020B0604020202020204" pitchFamily="34" charset="0"/>
                <a:ea typeface="微软雅黑 Light" panose="020B0502040204020203" pitchFamily="34" charset="-122"/>
                <a:cs typeface="微软雅黑" panose="020B0503020204020204" pitchFamily="34" charset="-122"/>
                <a:sym typeface="+mn-ea"/>
              </a:rPr>
              <a:t>利用了数据库的事务管理，实现队列判题和高并发。</a:t>
            </a:r>
            <a:endParaRPr lang="zh-CN" altLang="en-US" sz="2400"/>
          </a:p>
        </p:txBody>
      </p:sp>
      <p:graphicFrame>
        <p:nvGraphicFramePr>
          <p:cNvPr id="9" name="图示 8"/>
          <p:cNvGraphicFramePr/>
          <p:nvPr/>
        </p:nvGraphicFramePr>
        <p:xfrm>
          <a:off x="4820285" y="509270"/>
          <a:ext cx="4416425" cy="32880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0" name="图示 9"/>
          <p:cNvGraphicFramePr/>
          <p:nvPr/>
        </p:nvGraphicFramePr>
        <p:xfrm>
          <a:off x="6400165" y="679450"/>
          <a:ext cx="5497830" cy="59950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4" name="图示 13"/>
          <p:cNvGraphicFramePr/>
          <p:nvPr/>
        </p:nvGraphicFramePr>
        <p:xfrm>
          <a:off x="8971280" y="498475"/>
          <a:ext cx="1954530" cy="8928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20" name="文本框 19"/>
          <p:cNvSpPr txBox="1"/>
          <p:nvPr/>
        </p:nvSpPr>
        <p:spPr>
          <a:xfrm>
            <a:off x="5720715" y="1360805"/>
            <a:ext cx="1097280" cy="36830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r>
              <a:rPr lang="zh-CN" altLang="en-US">
                <a:solidFill>
                  <a:schemeClr val="accent3"/>
                </a:solidFill>
                <a:effectLst/>
              </a:rPr>
              <a:t>提交代码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7863840" y="3658235"/>
            <a:ext cx="1325880" cy="36830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r>
              <a:rPr lang="zh-CN" altLang="en-US">
                <a:solidFill>
                  <a:schemeClr val="accent1">
                    <a:lumMod val="60000"/>
                    <a:lumOff val="40000"/>
                  </a:schemeClr>
                </a:solidFill>
                <a:effectLst/>
              </a:rPr>
              <a:t>拉取未判题</a:t>
            </a:r>
          </a:p>
        </p:txBody>
      </p:sp>
      <p:sp>
        <p:nvSpPr>
          <p:cNvPr id="22" name="文本框 21"/>
          <p:cNvSpPr txBox="1"/>
          <p:nvPr/>
        </p:nvSpPr>
        <p:spPr>
          <a:xfrm>
            <a:off x="5949315" y="2578100"/>
            <a:ext cx="640080" cy="36830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r>
              <a:rPr lang="zh-CN" altLang="en-US">
                <a:solidFill>
                  <a:schemeClr val="accent3"/>
                </a:solidFill>
                <a:effectLst/>
              </a:rPr>
              <a:t>保存</a:t>
            </a:r>
          </a:p>
        </p:txBody>
      </p:sp>
      <p:sp>
        <p:nvSpPr>
          <p:cNvPr id="24" name="左箭头 23"/>
          <p:cNvSpPr/>
          <p:nvPr/>
        </p:nvSpPr>
        <p:spPr>
          <a:xfrm>
            <a:off x="7863840" y="3118485"/>
            <a:ext cx="1325880" cy="39624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右箭头 25"/>
          <p:cNvSpPr/>
          <p:nvPr/>
        </p:nvSpPr>
        <p:spPr>
          <a:xfrm>
            <a:off x="7987665" y="679450"/>
            <a:ext cx="983615" cy="43624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文本框 26"/>
          <p:cNvSpPr txBox="1"/>
          <p:nvPr/>
        </p:nvSpPr>
        <p:spPr>
          <a:xfrm>
            <a:off x="7931150" y="1285875"/>
            <a:ext cx="10972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请求网页</a:t>
            </a:r>
          </a:p>
        </p:txBody>
      </p:sp>
      <p:sp>
        <p:nvSpPr>
          <p:cNvPr id="28" name="矩形 27"/>
          <p:cNvSpPr/>
          <p:nvPr/>
        </p:nvSpPr>
        <p:spPr>
          <a:xfrm>
            <a:off x="8390890" y="5422265"/>
            <a:ext cx="1653540" cy="70294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文本框 28"/>
          <p:cNvSpPr txBox="1"/>
          <p:nvPr/>
        </p:nvSpPr>
        <p:spPr>
          <a:xfrm>
            <a:off x="8669020" y="5546725"/>
            <a:ext cx="10972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>
                <a:solidFill>
                  <a:schemeClr val="bg1"/>
                </a:solidFill>
              </a:rPr>
              <a:t>数据库</a:t>
            </a:r>
          </a:p>
        </p:txBody>
      </p:sp>
      <p:cxnSp>
        <p:nvCxnSpPr>
          <p:cNvPr id="38" name="直接连接符 37"/>
          <p:cNvCxnSpPr/>
          <p:nvPr/>
        </p:nvCxnSpPr>
        <p:spPr>
          <a:xfrm>
            <a:off x="7021830" y="4888865"/>
            <a:ext cx="0" cy="365125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直接连接符 38"/>
          <p:cNvCxnSpPr/>
          <p:nvPr/>
        </p:nvCxnSpPr>
        <p:spPr>
          <a:xfrm>
            <a:off x="8394065" y="4888865"/>
            <a:ext cx="0" cy="365125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0" name="直接连接符 39"/>
          <p:cNvCxnSpPr/>
          <p:nvPr/>
        </p:nvCxnSpPr>
        <p:spPr>
          <a:xfrm>
            <a:off x="9766300" y="4888865"/>
            <a:ext cx="0" cy="3651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连接符 40"/>
          <p:cNvCxnSpPr/>
          <p:nvPr/>
        </p:nvCxnSpPr>
        <p:spPr>
          <a:xfrm>
            <a:off x="11316970" y="4878070"/>
            <a:ext cx="0" cy="365125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直接连接符 41"/>
          <p:cNvCxnSpPr/>
          <p:nvPr/>
        </p:nvCxnSpPr>
        <p:spPr>
          <a:xfrm>
            <a:off x="7011670" y="5233670"/>
            <a:ext cx="4300855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直接连接符 42"/>
          <p:cNvCxnSpPr>
            <a:stCxn id="28" idx="0"/>
          </p:cNvCxnSpPr>
          <p:nvPr/>
        </p:nvCxnSpPr>
        <p:spPr>
          <a:xfrm flipH="1" flipV="1">
            <a:off x="9213215" y="5233670"/>
            <a:ext cx="4445" cy="188595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/>
        </p:nvSpPr>
        <p:spPr>
          <a:xfrm>
            <a:off x="9277518" y="716230"/>
            <a:ext cx="13547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Web</a:t>
            </a:r>
            <a:r>
              <a:rPr lang="zh-CN" altLang="en-US" dirty="0">
                <a:solidFill>
                  <a:schemeClr val="bg1"/>
                </a:solidFill>
              </a:rPr>
              <a:t>服务器</a:t>
            </a:r>
          </a:p>
          <a:p>
            <a:endParaRPr lang="zh-CN" altLang="en-US" dirty="0"/>
          </a:p>
        </p:txBody>
      </p:sp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5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" presetClass="entr" presetSubtype="5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2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3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3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3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3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4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4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3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4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3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5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3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5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21" grpId="0"/>
      <p:bldP spid="24" grpId="0" animBg="1"/>
      <p:bldP spid="26" grpId="0" animBg="1"/>
      <p:bldP spid="27" grpId="0"/>
      <p:bldP spid="28" grpId="0" animBg="1"/>
      <p:bldP spid="29" grpId="0"/>
      <p:bldP spid="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 descr="FHRJI~9)O9%TA7`EVWI5%5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78820" y="1234440"/>
            <a:ext cx="1198245" cy="1010920"/>
          </a:xfrm>
          <a:prstGeom prst="rect">
            <a:avLst/>
          </a:prstGeom>
        </p:spPr>
      </p:pic>
      <p:sp>
        <p:nvSpPr>
          <p:cNvPr id="42" name="圆角矩形 41"/>
          <p:cNvSpPr/>
          <p:nvPr/>
        </p:nvSpPr>
        <p:spPr>
          <a:xfrm>
            <a:off x="4549775" y="5557520"/>
            <a:ext cx="6346825" cy="1007110"/>
          </a:xfrm>
          <a:prstGeom prst="roundRect">
            <a:avLst>
              <a:gd name="adj" fmla="val 50000"/>
            </a:avLst>
          </a:prstGeom>
          <a:solidFill>
            <a:srgbClr val="F5F5F5"/>
          </a:solidFill>
          <a:ln w="28575">
            <a:solidFill>
              <a:srgbClr val="8D91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圆角矩形 40"/>
          <p:cNvSpPr/>
          <p:nvPr/>
        </p:nvSpPr>
        <p:spPr>
          <a:xfrm>
            <a:off x="4949190" y="3727450"/>
            <a:ext cx="6346825" cy="1007110"/>
          </a:xfrm>
          <a:prstGeom prst="roundRect">
            <a:avLst>
              <a:gd name="adj" fmla="val 50000"/>
            </a:avLst>
          </a:prstGeom>
          <a:solidFill>
            <a:schemeClr val="accent4">
              <a:lumMod val="20000"/>
              <a:lumOff val="80000"/>
            </a:schemeClr>
          </a:solidFill>
          <a:ln w="28575">
            <a:solidFill>
              <a:srgbClr val="8D91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圆角矩形 33"/>
          <p:cNvSpPr/>
          <p:nvPr/>
        </p:nvSpPr>
        <p:spPr>
          <a:xfrm>
            <a:off x="4555490" y="1706245"/>
            <a:ext cx="6346825" cy="1007110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rgbClr val="8D91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5438140" y="1760220"/>
            <a:ext cx="454342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黑体" panose="02010609060101010101" pitchFamily="49" charset="-122"/>
                <a:ea typeface="黑体" panose="02010609060101010101" pitchFamily="49" charset="-122"/>
              </a:rPr>
              <a:t>django，linux操作系统，boostrap，docker</a:t>
            </a:r>
          </a:p>
        </p:txBody>
      </p:sp>
      <p:sp>
        <p:nvSpPr>
          <p:cNvPr id="2" name="Title 6"/>
          <p:cNvSpPr txBox="1"/>
          <p:nvPr>
            <p:custDataLst>
              <p:tags r:id="rId2"/>
            </p:custDataLst>
          </p:nvPr>
        </p:nvSpPr>
        <p:spPr>
          <a:xfrm>
            <a:off x="607765" y="607765"/>
            <a:ext cx="10976675" cy="626701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72000" tIns="36000" rIns="72000" bIns="36000" anchor="t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ysClr val="windowText" lastClr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kumimoji="0" lang="zh-CN" altLang="en-US" sz="3600" b="1" i="0" spc="300" baseline="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亮点六</a:t>
            </a:r>
            <a:r>
              <a:rPr kumimoji="0" altLang="zh-CN" sz="3600" b="1" i="0" spc="300" baseline="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kumimoji="0" lang="zh-CN" altLang="en-US" sz="3600" b="1" i="0" spc="300" baseline="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集成开源技术</a:t>
            </a:r>
          </a:p>
        </p:txBody>
      </p:sp>
      <p:grpSp>
        <p:nvGrpSpPr>
          <p:cNvPr id="11" name="组合 10"/>
          <p:cNvGrpSpPr/>
          <p:nvPr>
            <p:custDataLst>
              <p:tags r:id="rId3"/>
            </p:custDataLst>
          </p:nvPr>
        </p:nvGrpSpPr>
        <p:grpSpPr>
          <a:xfrm>
            <a:off x="11400304" y="434583"/>
            <a:ext cx="203545" cy="74612"/>
            <a:chOff x="9839643" y="910585"/>
            <a:chExt cx="203545" cy="74612"/>
          </a:xfrm>
        </p:grpSpPr>
        <p:cxnSp>
          <p:nvCxnSpPr>
            <p:cNvPr id="12" name="直接连接符 11"/>
            <p:cNvCxnSpPr/>
            <p:nvPr>
              <p:custDataLst>
                <p:tags r:id="rId4"/>
              </p:custDataLst>
            </p:nvPr>
          </p:nvCxnSpPr>
          <p:spPr>
            <a:xfrm>
              <a:off x="9839643" y="910585"/>
              <a:ext cx="203545" cy="0"/>
            </a:xfrm>
            <a:prstGeom prst="line">
              <a:avLst/>
            </a:prstGeom>
            <a:ln w="12700">
              <a:solidFill>
                <a:sysClr val="windowText" lastClr="000000">
                  <a:lumMod val="75000"/>
                  <a:lumOff val="25000"/>
                </a:sysClr>
              </a:solidFill>
            </a:ln>
          </p:spPr>
          <p:style>
            <a:lnRef idx="1">
              <a:srgbClr val="8590CA"/>
            </a:lnRef>
            <a:fillRef idx="0">
              <a:srgbClr val="8590CA"/>
            </a:fillRef>
            <a:effectRef idx="0">
              <a:srgbClr val="8590CA"/>
            </a:effectRef>
            <a:fontRef idx="minor">
              <a:sysClr val="windowText" lastClr="000000"/>
            </a:fontRef>
          </p:style>
        </p:cxnSp>
        <p:cxnSp>
          <p:nvCxnSpPr>
            <p:cNvPr id="13" name="直接连接符 12"/>
            <p:cNvCxnSpPr/>
            <p:nvPr>
              <p:custDataLst>
                <p:tags r:id="rId5"/>
              </p:custDataLst>
            </p:nvPr>
          </p:nvCxnSpPr>
          <p:spPr>
            <a:xfrm>
              <a:off x="9839643" y="985197"/>
              <a:ext cx="155575" cy="0"/>
            </a:xfrm>
            <a:prstGeom prst="line">
              <a:avLst/>
            </a:prstGeom>
            <a:ln w="12700">
              <a:solidFill>
                <a:sysClr val="windowText" lastClr="000000">
                  <a:lumMod val="75000"/>
                  <a:lumOff val="25000"/>
                </a:sysClr>
              </a:solidFill>
            </a:ln>
          </p:spPr>
          <p:style>
            <a:lnRef idx="1">
              <a:srgbClr val="8590CA"/>
            </a:lnRef>
            <a:fillRef idx="0">
              <a:srgbClr val="8590CA"/>
            </a:fillRef>
            <a:effectRef idx="0">
              <a:srgbClr val="8590CA"/>
            </a:effectRef>
            <a:fontRef idx="minor">
              <a:sysClr val="windowText" lastClr="000000"/>
            </a:fontRef>
          </p:style>
        </p:cxnSp>
      </p:grpSp>
      <p:graphicFrame>
        <p:nvGraphicFramePr>
          <p:cNvPr id="4" name="图示 3"/>
          <p:cNvGraphicFramePr/>
          <p:nvPr/>
        </p:nvGraphicFramePr>
        <p:xfrm>
          <a:off x="0" y="1604010"/>
          <a:ext cx="8340725" cy="52539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5" name="文本框 4"/>
          <p:cNvSpPr txBox="1"/>
          <p:nvPr/>
        </p:nvSpPr>
        <p:spPr>
          <a:xfrm>
            <a:off x="1105535" y="3261995"/>
            <a:ext cx="222567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000" b="1">
                <a:solidFill>
                  <a:schemeClr val="bg1">
                    <a:lumMod val="95000"/>
                  </a:schemeClr>
                </a:solidFill>
              </a:rPr>
              <a:t>各项技术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5996940" y="3766820"/>
            <a:ext cx="490537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黑体" panose="02010609060101010101" pitchFamily="49" charset="-122"/>
                <a:ea typeface="黑体" panose="02010609060101010101" pitchFamily="49" charset="-122"/>
              </a:rPr>
              <a:t>云服务器，云数据库</a:t>
            </a:r>
          </a:p>
          <a:p>
            <a:r>
              <a:rPr lang="zh-CN" altLang="en-US" sz="2800">
                <a:latin typeface="黑体" panose="02010609060101010101" pitchFamily="49" charset="-122"/>
                <a:ea typeface="黑体" panose="02010609060101010101" pitchFamily="49" charset="-122"/>
              </a:rPr>
              <a:t>vscode远程开发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5139690" y="5748655"/>
            <a:ext cx="517906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/>
              <a:t>人脸识别，推荐算法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2155" y="737235"/>
            <a:ext cx="1022985" cy="1022985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1595" y="2245360"/>
            <a:ext cx="1534160" cy="1228090"/>
          </a:xfrm>
          <a:prstGeom prst="rect">
            <a:avLst/>
          </a:prstGeom>
        </p:spPr>
      </p:pic>
      <p:pic>
        <p:nvPicPr>
          <p:cNvPr id="16" name="图片 15" descr="S1K9$%2XCQM2]7IQ_GUFP6I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179560" y="2814320"/>
            <a:ext cx="802005" cy="812800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814435" y="5626100"/>
            <a:ext cx="870585" cy="870585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468485" y="2875280"/>
            <a:ext cx="1029335" cy="972820"/>
          </a:xfrm>
          <a:prstGeom prst="rect">
            <a:avLst/>
          </a:prstGeom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140" y="3473450"/>
            <a:ext cx="1157605" cy="1157605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468485" y="4356100"/>
            <a:ext cx="1128395" cy="94678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bldLvl="0" animBg="1"/>
      <p:bldP spid="41" grpId="0" bldLvl="0" animBg="1"/>
      <p:bldP spid="34" grpId="0" bldLvl="0" animBg="1"/>
      <p:bldP spid="8" grpId="0"/>
      <p:bldP spid="8" grpId="1"/>
      <p:bldP spid="10" grpId="0"/>
      <p:bldP spid="10" grpId="1"/>
      <p:bldP spid="15" grpId="0"/>
      <p:bldP spid="15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247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49248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</a:t>
            </a:fld>
            <a:endParaRPr lang="zh-CN" altLang="en-US"/>
          </a:p>
        </p:txBody>
      </p:sp>
      <p:sp>
        <p:nvSpPr>
          <p:cNvPr id="1049249" name="îşlîḓe"/>
          <p:cNvSpPr/>
          <p:nvPr/>
        </p:nvSpPr>
        <p:spPr>
          <a:xfrm>
            <a:off x="0" y="4589"/>
            <a:ext cx="12192000" cy="2848347"/>
          </a:xfrm>
          <a:prstGeom prst="roundRect">
            <a:avLst>
              <a:gd name="adj" fmla="val 0"/>
            </a:avLst>
          </a:prstGeom>
          <a:blipFill>
            <a:blip r:embed="rId2"/>
            <a:srcRect/>
            <a:stretch>
              <a:fillRect t="-70252" b="-70252"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 defTabSz="914400"/>
            <a:endParaRPr lang="zh-CN" altLang="en-US" dirty="0"/>
          </a:p>
        </p:txBody>
      </p:sp>
      <p:sp>
        <p:nvSpPr>
          <p:cNvPr id="1049250" name="îṧļïḋê"/>
          <p:cNvSpPr/>
          <p:nvPr/>
        </p:nvSpPr>
        <p:spPr>
          <a:xfrm>
            <a:off x="0" y="-7620"/>
            <a:ext cx="12191208" cy="2860920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049251" name="iṡľïḑè"/>
          <p:cNvSpPr txBox="1"/>
          <p:nvPr/>
        </p:nvSpPr>
        <p:spPr bwMode="auto">
          <a:xfrm>
            <a:off x="3714115" y="2752090"/>
            <a:ext cx="8009890" cy="3292475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0" indent="0">
              <a:lnSpc>
                <a:spcPct val="250000"/>
              </a:lnSpc>
              <a:buNone/>
            </a:pPr>
            <a:r>
              <a:rPr lang="zh-CN" altLang="en-US" sz="2800" b="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sym typeface="+mn-lt"/>
              </a:rPr>
              <a:t>一、总体介绍</a:t>
            </a:r>
          </a:p>
          <a:p>
            <a:pPr marL="0" indent="0">
              <a:lnSpc>
                <a:spcPct val="250000"/>
              </a:lnSpc>
              <a:buNone/>
            </a:pPr>
            <a:r>
              <a:rPr lang="zh-CN" altLang="en-US" sz="2800" b="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sym typeface="+mn-lt"/>
              </a:rPr>
              <a:t>二、五大模块介绍</a:t>
            </a:r>
          </a:p>
          <a:p>
            <a:pPr marL="0" indent="0">
              <a:lnSpc>
                <a:spcPct val="250000"/>
              </a:lnSpc>
              <a:buNone/>
            </a:pPr>
            <a:r>
              <a:rPr lang="zh-CN" altLang="en-US" sz="2800" b="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sym typeface="+mn-lt"/>
              </a:rPr>
              <a:t>三、项目亮点</a:t>
            </a:r>
          </a:p>
        </p:txBody>
      </p:sp>
      <p:cxnSp>
        <p:nvCxnSpPr>
          <p:cNvPr id="3145743" name="直接连接符 23"/>
          <p:cNvCxnSpPr/>
          <p:nvPr/>
        </p:nvCxnSpPr>
        <p:spPr>
          <a:xfrm>
            <a:off x="3380411" y="3302000"/>
            <a:ext cx="0" cy="2858840"/>
          </a:xfrm>
          <a:prstGeom prst="line">
            <a:avLst/>
          </a:prstGeom>
          <a:solidFill>
            <a:srgbClr val="FFCC0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49252" name="išľïḋé"/>
          <p:cNvSpPr txBox="1"/>
          <p:nvPr/>
        </p:nvSpPr>
        <p:spPr>
          <a:xfrm>
            <a:off x="757282" y="3207196"/>
            <a:ext cx="2623091" cy="95410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2800" b="1" dirty="0">
                <a:solidFill>
                  <a:schemeClr val="accent1"/>
                </a:solidFill>
                <a:cs typeface="+mn-ea"/>
                <a:sym typeface="+mn-lt"/>
              </a:rPr>
              <a:t>目录</a:t>
            </a:r>
            <a:endParaRPr lang="en-US" sz="2800" b="1" dirty="0">
              <a:solidFill>
                <a:schemeClr val="accent1"/>
              </a:solidFill>
              <a:cs typeface="+mn-ea"/>
              <a:sym typeface="+mn-lt"/>
            </a:endParaRPr>
          </a:p>
          <a:p>
            <a:pPr algn="r"/>
            <a:r>
              <a:rPr lang="tr-TR" sz="2800" dirty="0">
                <a:solidFill>
                  <a:schemeClr val="accent1"/>
                </a:solidFill>
                <a:cs typeface="+mn-ea"/>
                <a:sym typeface="+mn-lt"/>
              </a:rPr>
              <a:t>CONTENTS</a:t>
            </a:r>
          </a:p>
        </p:txBody>
      </p:sp>
      <p:sp>
        <p:nvSpPr>
          <p:cNvPr id="1049253" name="poetry_91022"/>
          <p:cNvSpPr>
            <a:spLocks noChangeAspect="1"/>
          </p:cNvSpPr>
          <p:nvPr/>
        </p:nvSpPr>
        <p:spPr bwMode="auto">
          <a:xfrm>
            <a:off x="2379533" y="5243772"/>
            <a:ext cx="870506" cy="915667"/>
          </a:xfrm>
          <a:custGeom>
            <a:avLst/>
            <a:gdLst>
              <a:gd name="T0" fmla="*/ 3353 w 5127"/>
              <a:gd name="T1" fmla="*/ 1728 h 5401"/>
              <a:gd name="T2" fmla="*/ 2183 w 5127"/>
              <a:gd name="T3" fmla="*/ 1608 h 5401"/>
              <a:gd name="T4" fmla="*/ 3353 w 5127"/>
              <a:gd name="T5" fmla="*/ 1488 h 5401"/>
              <a:gd name="T6" fmla="*/ 3103 w 5127"/>
              <a:gd name="T7" fmla="*/ 2231 h 5401"/>
              <a:gd name="T8" fmla="*/ 3103 w 5127"/>
              <a:gd name="T9" fmla="*/ 1991 h 5401"/>
              <a:gd name="T10" fmla="*/ 2432 w 5127"/>
              <a:gd name="T11" fmla="*/ 2111 h 5401"/>
              <a:gd name="T12" fmla="*/ 3103 w 5127"/>
              <a:gd name="T13" fmla="*/ 2231 h 5401"/>
              <a:gd name="T14" fmla="*/ 3353 w 5127"/>
              <a:gd name="T15" fmla="*/ 2648 h 5401"/>
              <a:gd name="T16" fmla="*/ 2183 w 5127"/>
              <a:gd name="T17" fmla="*/ 2768 h 5401"/>
              <a:gd name="T18" fmla="*/ 3353 w 5127"/>
              <a:gd name="T19" fmla="*/ 2888 h 5401"/>
              <a:gd name="T20" fmla="*/ 2552 w 5127"/>
              <a:gd name="T21" fmla="*/ 3151 h 5401"/>
              <a:gd name="T22" fmla="*/ 2552 w 5127"/>
              <a:gd name="T23" fmla="*/ 3391 h 5401"/>
              <a:gd name="T24" fmla="*/ 3223 w 5127"/>
              <a:gd name="T25" fmla="*/ 3271 h 5401"/>
              <a:gd name="T26" fmla="*/ 2552 w 5127"/>
              <a:gd name="T27" fmla="*/ 3151 h 5401"/>
              <a:gd name="T28" fmla="*/ 4448 w 5127"/>
              <a:gd name="T29" fmla="*/ 1442 h 5401"/>
              <a:gd name="T30" fmla="*/ 4688 w 5127"/>
              <a:gd name="T31" fmla="*/ 1442 h 5401"/>
              <a:gd name="T32" fmla="*/ 3988 w 5127"/>
              <a:gd name="T33" fmla="*/ 0 h 5401"/>
              <a:gd name="T34" fmla="*/ 0 w 5127"/>
              <a:gd name="T35" fmla="*/ 604 h 5401"/>
              <a:gd name="T36" fmla="*/ 120 w 5127"/>
              <a:gd name="T37" fmla="*/ 1792 h 5401"/>
              <a:gd name="T38" fmla="*/ 686 w 5127"/>
              <a:gd name="T39" fmla="*/ 1672 h 5401"/>
              <a:gd name="T40" fmla="*/ 240 w 5127"/>
              <a:gd name="T41" fmla="*/ 1552 h 5401"/>
              <a:gd name="T42" fmla="*/ 604 w 5127"/>
              <a:gd name="T43" fmla="*/ 240 h 5401"/>
              <a:gd name="T44" fmla="*/ 968 w 5127"/>
              <a:gd name="T45" fmla="*/ 4179 h 5401"/>
              <a:gd name="T46" fmla="*/ 3904 w 5127"/>
              <a:gd name="T47" fmla="*/ 4879 h 5401"/>
              <a:gd name="T48" fmla="*/ 3904 w 5127"/>
              <a:gd name="T49" fmla="*/ 4639 h 5401"/>
              <a:gd name="T50" fmla="*/ 1208 w 5127"/>
              <a:gd name="T51" fmla="*/ 4179 h 5401"/>
              <a:gd name="T52" fmla="*/ 1086 w 5127"/>
              <a:gd name="T53" fmla="*/ 240 h 5401"/>
              <a:gd name="T54" fmla="*/ 4448 w 5127"/>
              <a:gd name="T55" fmla="*/ 700 h 5401"/>
              <a:gd name="T56" fmla="*/ 4568 w 5127"/>
              <a:gd name="T57" fmla="*/ 2000 h 5401"/>
              <a:gd name="T58" fmla="*/ 4568 w 5127"/>
              <a:gd name="T59" fmla="*/ 2240 h 5401"/>
              <a:gd name="T60" fmla="*/ 4887 w 5127"/>
              <a:gd name="T61" fmla="*/ 2340 h 5401"/>
              <a:gd name="T62" fmla="*/ 5007 w 5127"/>
              <a:gd name="T63" fmla="*/ 3838 h 5401"/>
              <a:gd name="T64" fmla="*/ 5127 w 5127"/>
              <a:gd name="T65" fmla="*/ 2340 h 5401"/>
              <a:gd name="T66" fmla="*/ 4568 w 5127"/>
              <a:gd name="T67" fmla="*/ 5139 h 5401"/>
              <a:gd name="T68" fmla="*/ 4448 w 5127"/>
              <a:gd name="T69" fmla="*/ 5281 h 5401"/>
              <a:gd name="T70" fmla="*/ 4688 w 5127"/>
              <a:gd name="T71" fmla="*/ 5281 h 5401"/>
              <a:gd name="T72" fmla="*/ 4568 w 5127"/>
              <a:gd name="T73" fmla="*/ 5139 h 5401"/>
              <a:gd name="T74" fmla="*/ 4448 w 5127"/>
              <a:gd name="T75" fmla="*/ 2559 h 5401"/>
              <a:gd name="T76" fmla="*/ 4568 w 5127"/>
              <a:gd name="T77" fmla="*/ 4974 h 5401"/>
              <a:gd name="T78" fmla="*/ 4688 w 5127"/>
              <a:gd name="T79" fmla="*/ 2559 h 5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7" h="5401">
                <a:moveTo>
                  <a:pt x="3473" y="1608"/>
                </a:moveTo>
                <a:cubicBezTo>
                  <a:pt x="3473" y="1674"/>
                  <a:pt x="3419" y="1728"/>
                  <a:pt x="3353" y="1728"/>
                </a:cubicBezTo>
                <a:lnTo>
                  <a:pt x="2303" y="1728"/>
                </a:lnTo>
                <a:cubicBezTo>
                  <a:pt x="2236" y="1728"/>
                  <a:pt x="2183" y="1674"/>
                  <a:pt x="2183" y="1608"/>
                </a:cubicBezTo>
                <a:cubicBezTo>
                  <a:pt x="2183" y="1542"/>
                  <a:pt x="2236" y="1488"/>
                  <a:pt x="2303" y="1488"/>
                </a:cubicBezTo>
                <a:lnTo>
                  <a:pt x="3353" y="1488"/>
                </a:lnTo>
                <a:cubicBezTo>
                  <a:pt x="3419" y="1488"/>
                  <a:pt x="3473" y="1542"/>
                  <a:pt x="3473" y="1608"/>
                </a:cubicBezTo>
                <a:close/>
                <a:moveTo>
                  <a:pt x="3103" y="2231"/>
                </a:moveTo>
                <a:cubicBezTo>
                  <a:pt x="3170" y="2231"/>
                  <a:pt x="3223" y="2178"/>
                  <a:pt x="3223" y="2111"/>
                </a:cubicBezTo>
                <a:cubicBezTo>
                  <a:pt x="3223" y="2045"/>
                  <a:pt x="3170" y="1991"/>
                  <a:pt x="3103" y="1991"/>
                </a:cubicBezTo>
                <a:lnTo>
                  <a:pt x="2552" y="1991"/>
                </a:lnTo>
                <a:cubicBezTo>
                  <a:pt x="2486" y="1991"/>
                  <a:pt x="2432" y="2045"/>
                  <a:pt x="2432" y="2111"/>
                </a:cubicBezTo>
                <a:cubicBezTo>
                  <a:pt x="2432" y="2178"/>
                  <a:pt x="2486" y="2231"/>
                  <a:pt x="2552" y="2231"/>
                </a:cubicBezTo>
                <a:lnTo>
                  <a:pt x="3103" y="2231"/>
                </a:lnTo>
                <a:close/>
                <a:moveTo>
                  <a:pt x="3473" y="2768"/>
                </a:moveTo>
                <a:cubicBezTo>
                  <a:pt x="3473" y="2701"/>
                  <a:pt x="3419" y="2648"/>
                  <a:pt x="3353" y="2648"/>
                </a:cubicBezTo>
                <a:lnTo>
                  <a:pt x="2303" y="2648"/>
                </a:lnTo>
                <a:cubicBezTo>
                  <a:pt x="2236" y="2648"/>
                  <a:pt x="2183" y="2701"/>
                  <a:pt x="2183" y="2768"/>
                </a:cubicBezTo>
                <a:cubicBezTo>
                  <a:pt x="2183" y="2834"/>
                  <a:pt x="2236" y="2888"/>
                  <a:pt x="2303" y="2888"/>
                </a:cubicBezTo>
                <a:lnTo>
                  <a:pt x="3353" y="2888"/>
                </a:lnTo>
                <a:cubicBezTo>
                  <a:pt x="3419" y="2888"/>
                  <a:pt x="3473" y="2834"/>
                  <a:pt x="3473" y="2768"/>
                </a:cubicBezTo>
                <a:close/>
                <a:moveTo>
                  <a:pt x="2552" y="3151"/>
                </a:moveTo>
                <a:cubicBezTo>
                  <a:pt x="2486" y="3151"/>
                  <a:pt x="2432" y="3205"/>
                  <a:pt x="2432" y="3271"/>
                </a:cubicBezTo>
                <a:cubicBezTo>
                  <a:pt x="2432" y="3338"/>
                  <a:pt x="2486" y="3391"/>
                  <a:pt x="2552" y="3391"/>
                </a:cubicBezTo>
                <a:lnTo>
                  <a:pt x="3103" y="3391"/>
                </a:lnTo>
                <a:cubicBezTo>
                  <a:pt x="3170" y="3391"/>
                  <a:pt x="3223" y="3338"/>
                  <a:pt x="3223" y="3271"/>
                </a:cubicBezTo>
                <a:cubicBezTo>
                  <a:pt x="3223" y="3205"/>
                  <a:pt x="3170" y="3151"/>
                  <a:pt x="3103" y="3151"/>
                </a:cubicBezTo>
                <a:lnTo>
                  <a:pt x="2552" y="3151"/>
                </a:lnTo>
                <a:close/>
                <a:moveTo>
                  <a:pt x="4448" y="700"/>
                </a:moveTo>
                <a:lnTo>
                  <a:pt x="4448" y="1442"/>
                </a:lnTo>
                <a:cubicBezTo>
                  <a:pt x="4448" y="1509"/>
                  <a:pt x="4501" y="1562"/>
                  <a:pt x="4568" y="1562"/>
                </a:cubicBezTo>
                <a:cubicBezTo>
                  <a:pt x="4634" y="1562"/>
                  <a:pt x="4688" y="1509"/>
                  <a:pt x="4688" y="1442"/>
                </a:cubicBezTo>
                <a:lnTo>
                  <a:pt x="4688" y="700"/>
                </a:lnTo>
                <a:cubicBezTo>
                  <a:pt x="4688" y="314"/>
                  <a:pt x="4374" y="0"/>
                  <a:pt x="3988" y="0"/>
                </a:cubicBezTo>
                <a:lnTo>
                  <a:pt x="604" y="0"/>
                </a:lnTo>
                <a:cubicBezTo>
                  <a:pt x="271" y="0"/>
                  <a:pt x="0" y="271"/>
                  <a:pt x="0" y="604"/>
                </a:cubicBezTo>
                <a:lnTo>
                  <a:pt x="0" y="1672"/>
                </a:lnTo>
                <a:cubicBezTo>
                  <a:pt x="0" y="1738"/>
                  <a:pt x="53" y="1792"/>
                  <a:pt x="120" y="1792"/>
                </a:cubicBezTo>
                <a:lnTo>
                  <a:pt x="566" y="1792"/>
                </a:lnTo>
                <a:cubicBezTo>
                  <a:pt x="632" y="1792"/>
                  <a:pt x="686" y="1738"/>
                  <a:pt x="686" y="1672"/>
                </a:cubicBezTo>
                <a:cubicBezTo>
                  <a:pt x="686" y="1606"/>
                  <a:pt x="632" y="1552"/>
                  <a:pt x="566" y="1552"/>
                </a:cubicBezTo>
                <a:lnTo>
                  <a:pt x="240" y="1552"/>
                </a:lnTo>
                <a:lnTo>
                  <a:pt x="240" y="604"/>
                </a:lnTo>
                <a:cubicBezTo>
                  <a:pt x="240" y="403"/>
                  <a:pt x="403" y="240"/>
                  <a:pt x="604" y="240"/>
                </a:cubicBezTo>
                <a:cubicBezTo>
                  <a:pt x="805" y="240"/>
                  <a:pt x="968" y="403"/>
                  <a:pt x="968" y="604"/>
                </a:cubicBezTo>
                <a:lnTo>
                  <a:pt x="968" y="4179"/>
                </a:lnTo>
                <a:cubicBezTo>
                  <a:pt x="968" y="4565"/>
                  <a:pt x="1282" y="4879"/>
                  <a:pt x="1668" y="4879"/>
                </a:cubicBezTo>
                <a:lnTo>
                  <a:pt x="3904" y="4879"/>
                </a:lnTo>
                <a:cubicBezTo>
                  <a:pt x="3970" y="4879"/>
                  <a:pt x="4024" y="4825"/>
                  <a:pt x="4024" y="4759"/>
                </a:cubicBezTo>
                <a:cubicBezTo>
                  <a:pt x="4024" y="4693"/>
                  <a:pt x="3970" y="4639"/>
                  <a:pt x="3904" y="4639"/>
                </a:cubicBezTo>
                <a:lnTo>
                  <a:pt x="1668" y="4639"/>
                </a:lnTo>
                <a:cubicBezTo>
                  <a:pt x="1415" y="4639"/>
                  <a:pt x="1208" y="4433"/>
                  <a:pt x="1208" y="4179"/>
                </a:cubicBezTo>
                <a:lnTo>
                  <a:pt x="1208" y="604"/>
                </a:lnTo>
                <a:cubicBezTo>
                  <a:pt x="1208" y="468"/>
                  <a:pt x="1163" y="341"/>
                  <a:pt x="1086" y="240"/>
                </a:cubicBezTo>
                <a:lnTo>
                  <a:pt x="3988" y="240"/>
                </a:lnTo>
                <a:cubicBezTo>
                  <a:pt x="4241" y="240"/>
                  <a:pt x="4448" y="446"/>
                  <a:pt x="4448" y="700"/>
                </a:cubicBezTo>
                <a:close/>
                <a:moveTo>
                  <a:pt x="4787" y="2000"/>
                </a:moveTo>
                <a:lnTo>
                  <a:pt x="4568" y="2000"/>
                </a:lnTo>
                <a:cubicBezTo>
                  <a:pt x="4501" y="2000"/>
                  <a:pt x="4448" y="2054"/>
                  <a:pt x="4448" y="2120"/>
                </a:cubicBezTo>
                <a:cubicBezTo>
                  <a:pt x="4448" y="2187"/>
                  <a:pt x="4501" y="2240"/>
                  <a:pt x="4568" y="2240"/>
                </a:cubicBezTo>
                <a:lnTo>
                  <a:pt x="4787" y="2240"/>
                </a:lnTo>
                <a:cubicBezTo>
                  <a:pt x="4842" y="2240"/>
                  <a:pt x="4887" y="2285"/>
                  <a:pt x="4887" y="2340"/>
                </a:cubicBezTo>
                <a:lnTo>
                  <a:pt x="4887" y="3718"/>
                </a:lnTo>
                <a:cubicBezTo>
                  <a:pt x="4887" y="3785"/>
                  <a:pt x="4941" y="3838"/>
                  <a:pt x="5007" y="3838"/>
                </a:cubicBezTo>
                <a:cubicBezTo>
                  <a:pt x="5073" y="3838"/>
                  <a:pt x="5127" y="3785"/>
                  <a:pt x="5127" y="3718"/>
                </a:cubicBezTo>
                <a:lnTo>
                  <a:pt x="5127" y="2340"/>
                </a:lnTo>
                <a:cubicBezTo>
                  <a:pt x="5127" y="2153"/>
                  <a:pt x="4975" y="2000"/>
                  <a:pt x="4787" y="2000"/>
                </a:cubicBezTo>
                <a:close/>
                <a:moveTo>
                  <a:pt x="4568" y="5139"/>
                </a:moveTo>
                <a:cubicBezTo>
                  <a:pt x="4501" y="5139"/>
                  <a:pt x="4448" y="5193"/>
                  <a:pt x="4448" y="5259"/>
                </a:cubicBezTo>
                <a:lnTo>
                  <a:pt x="4448" y="5281"/>
                </a:lnTo>
                <a:cubicBezTo>
                  <a:pt x="4448" y="5347"/>
                  <a:pt x="4501" y="5401"/>
                  <a:pt x="4568" y="5401"/>
                </a:cubicBezTo>
                <a:cubicBezTo>
                  <a:pt x="4634" y="5401"/>
                  <a:pt x="4688" y="5347"/>
                  <a:pt x="4688" y="5281"/>
                </a:cubicBezTo>
                <a:lnTo>
                  <a:pt x="4688" y="5259"/>
                </a:lnTo>
                <a:cubicBezTo>
                  <a:pt x="4688" y="5193"/>
                  <a:pt x="4634" y="5139"/>
                  <a:pt x="4568" y="5139"/>
                </a:cubicBezTo>
                <a:close/>
                <a:moveTo>
                  <a:pt x="4568" y="2439"/>
                </a:moveTo>
                <a:cubicBezTo>
                  <a:pt x="4501" y="2439"/>
                  <a:pt x="4448" y="2492"/>
                  <a:pt x="4448" y="2559"/>
                </a:cubicBezTo>
                <a:lnTo>
                  <a:pt x="4448" y="4854"/>
                </a:lnTo>
                <a:cubicBezTo>
                  <a:pt x="4448" y="4920"/>
                  <a:pt x="4501" y="4974"/>
                  <a:pt x="4568" y="4974"/>
                </a:cubicBezTo>
                <a:cubicBezTo>
                  <a:pt x="4634" y="4974"/>
                  <a:pt x="4688" y="4920"/>
                  <a:pt x="4688" y="4854"/>
                </a:cubicBezTo>
                <a:lnTo>
                  <a:pt x="4688" y="2559"/>
                </a:lnTo>
                <a:cubicBezTo>
                  <a:pt x="4688" y="2492"/>
                  <a:pt x="4634" y="2439"/>
                  <a:pt x="4568" y="243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zh-CN" altLang="en-US">
              <a:solidFill>
                <a:schemeClr val="accent1"/>
              </a:solidFill>
              <a:cs typeface="+mn-ea"/>
              <a:sym typeface="+mn-lt"/>
            </a:endParaRPr>
          </a:p>
        </p:txBody>
      </p:sp>
      <p:cxnSp>
        <p:nvCxnSpPr>
          <p:cNvPr id="3" name="直接连接符 2"/>
          <p:cNvCxnSpPr/>
          <p:nvPr/>
        </p:nvCxnSpPr>
        <p:spPr>
          <a:xfrm flipV="1">
            <a:off x="3500120" y="6137275"/>
            <a:ext cx="7610475" cy="10795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6"/>
          <p:cNvSpPr txBox="1"/>
          <p:nvPr>
            <p:custDataLst>
              <p:tags r:id="rId2"/>
            </p:custDataLst>
          </p:nvPr>
        </p:nvSpPr>
        <p:spPr>
          <a:xfrm>
            <a:off x="607765" y="607765"/>
            <a:ext cx="10976675" cy="626701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72000" tIns="36000" rIns="72000" bIns="36000" anchor="t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ysClr val="windowText" lastClr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kumimoji="0" lang="zh-CN" altLang="en-US" sz="3600" b="1" i="0" spc="300" baseline="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使用语言</a:t>
            </a:r>
          </a:p>
        </p:txBody>
      </p:sp>
      <p:sp>
        <p:nvSpPr>
          <p:cNvPr id="56" name="矩形: 圆角 55"/>
          <p:cNvSpPr/>
          <p:nvPr/>
        </p:nvSpPr>
        <p:spPr>
          <a:xfrm>
            <a:off x="4744865" y="1198857"/>
            <a:ext cx="6172933" cy="2486025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7" name="图片 5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7977" y="1393325"/>
            <a:ext cx="1905000" cy="1905000"/>
          </a:xfrm>
          <a:prstGeom prst="rect">
            <a:avLst/>
          </a:prstGeom>
        </p:spPr>
      </p:pic>
      <p:sp>
        <p:nvSpPr>
          <p:cNvPr id="58" name="矩形 57"/>
          <p:cNvSpPr/>
          <p:nvPr/>
        </p:nvSpPr>
        <p:spPr>
          <a:xfrm>
            <a:off x="2611052" y="3474789"/>
            <a:ext cx="1186114" cy="30777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ython</a:t>
            </a:r>
          </a:p>
        </p:txBody>
      </p:sp>
      <p:pic>
        <p:nvPicPr>
          <p:cNvPr id="59" name="图片 5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1883" y="1548349"/>
            <a:ext cx="1432475" cy="1432475"/>
          </a:xfrm>
          <a:prstGeom prst="rect">
            <a:avLst/>
          </a:prstGeom>
        </p:spPr>
      </p:pic>
      <p:sp>
        <p:nvSpPr>
          <p:cNvPr id="60" name="矩形 59"/>
          <p:cNvSpPr/>
          <p:nvPr/>
        </p:nvSpPr>
        <p:spPr>
          <a:xfrm>
            <a:off x="5522724" y="3281412"/>
            <a:ext cx="1432474" cy="30777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ML</a:t>
            </a:r>
          </a:p>
        </p:txBody>
      </p:sp>
      <p:pic>
        <p:nvPicPr>
          <p:cNvPr id="61" name="图片 6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9028" y="1446782"/>
            <a:ext cx="1635608" cy="1635608"/>
          </a:xfrm>
          <a:prstGeom prst="rect">
            <a:avLst/>
          </a:prstGeom>
        </p:spPr>
      </p:pic>
      <p:sp>
        <p:nvSpPr>
          <p:cNvPr id="62" name="矩形 61"/>
          <p:cNvSpPr/>
          <p:nvPr/>
        </p:nvSpPr>
        <p:spPr>
          <a:xfrm>
            <a:off x="9291182" y="3228646"/>
            <a:ext cx="1203831" cy="30777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avaScript</a:t>
            </a:r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4074" y="1613237"/>
            <a:ext cx="1324206" cy="1317618"/>
          </a:xfrm>
          <a:prstGeom prst="rect">
            <a:avLst/>
          </a:prstGeom>
        </p:spPr>
      </p:pic>
      <p:sp>
        <p:nvSpPr>
          <p:cNvPr id="64" name="矩形 63"/>
          <p:cNvSpPr/>
          <p:nvPr/>
        </p:nvSpPr>
        <p:spPr>
          <a:xfrm>
            <a:off x="7524310" y="3297170"/>
            <a:ext cx="1000871" cy="30777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SS</a:t>
            </a:r>
          </a:p>
        </p:txBody>
      </p:sp>
      <p:sp>
        <p:nvSpPr>
          <p:cNvPr id="65" name="矩形 64"/>
          <p:cNvSpPr/>
          <p:nvPr/>
        </p:nvSpPr>
        <p:spPr>
          <a:xfrm>
            <a:off x="2285354" y="6069742"/>
            <a:ext cx="1657623" cy="307778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jango</a:t>
            </a: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语言</a:t>
            </a:r>
            <a:endParaRPr lang="en-US" altLang="zh-CN" sz="1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6" name="图片 6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4865" y="4215466"/>
            <a:ext cx="1999493" cy="1443677"/>
          </a:xfrm>
          <a:prstGeom prst="rect">
            <a:avLst/>
          </a:prstGeom>
        </p:spPr>
      </p:pic>
      <p:sp>
        <p:nvSpPr>
          <p:cNvPr id="67" name="矩形 66"/>
          <p:cNvSpPr/>
          <p:nvPr/>
        </p:nvSpPr>
        <p:spPr>
          <a:xfrm>
            <a:off x="5238188" y="6064127"/>
            <a:ext cx="1245113" cy="30777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QL</a:t>
            </a: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语句</a:t>
            </a:r>
            <a:endParaRPr lang="en-US" altLang="zh-CN" sz="1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8" name="图片 6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5143" y="3932807"/>
            <a:ext cx="1905000" cy="1905000"/>
          </a:xfrm>
          <a:prstGeom prst="rect">
            <a:avLst/>
          </a:prstGeom>
        </p:spPr>
      </p:pic>
      <p:sp>
        <p:nvSpPr>
          <p:cNvPr id="69" name="矩形 68"/>
          <p:cNvSpPr/>
          <p:nvPr/>
        </p:nvSpPr>
        <p:spPr>
          <a:xfrm>
            <a:off x="7846177" y="6058442"/>
            <a:ext cx="1245113" cy="30777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ash Shell</a:t>
            </a:r>
          </a:p>
        </p:txBody>
      </p:sp>
      <p:pic>
        <p:nvPicPr>
          <p:cNvPr id="70" name="图片 6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7811" y="4030600"/>
            <a:ext cx="1705166" cy="1705166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6"/>
          <p:cNvSpPr txBox="1"/>
          <p:nvPr>
            <p:custDataLst>
              <p:tags r:id="rId2"/>
            </p:custDataLst>
          </p:nvPr>
        </p:nvSpPr>
        <p:spPr>
          <a:xfrm>
            <a:off x="607765" y="607765"/>
            <a:ext cx="10976675" cy="626701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72000" tIns="36000" rIns="72000" bIns="36000" anchor="t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ysClr val="windowText" lastClr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kumimoji="0" lang="zh-CN" altLang="en-US" sz="3600" b="1" i="0" spc="300" baseline="0" noProof="0" dirty="0">
                <a:ln w="3175">
                  <a:noFill/>
                  <a:prstDash val="dash"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技术汇总</a:t>
            </a:r>
          </a:p>
        </p:txBody>
      </p:sp>
      <p:sp>
        <p:nvSpPr>
          <p:cNvPr id="20" name="矩形 19"/>
          <p:cNvSpPr/>
          <p:nvPr/>
        </p:nvSpPr>
        <p:spPr>
          <a:xfrm>
            <a:off x="861814" y="1779229"/>
            <a:ext cx="1964674" cy="30777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jango</a:t>
            </a: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框架</a:t>
            </a:r>
          </a:p>
        </p:txBody>
      </p:sp>
      <p:sp>
        <p:nvSpPr>
          <p:cNvPr id="22" name="矩形 21"/>
          <p:cNvSpPr/>
          <p:nvPr/>
        </p:nvSpPr>
        <p:spPr>
          <a:xfrm>
            <a:off x="861815" y="2041376"/>
            <a:ext cx="2497528" cy="461665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Python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语言开发的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web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框架，与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flask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相比，更适用于大型项目.</a:t>
            </a:r>
          </a:p>
        </p:txBody>
      </p:sp>
      <p:sp>
        <p:nvSpPr>
          <p:cNvPr id="23" name="矩形 22"/>
          <p:cNvSpPr/>
          <p:nvPr/>
        </p:nvSpPr>
        <p:spPr>
          <a:xfrm>
            <a:off x="861814" y="3159890"/>
            <a:ext cx="1964674" cy="30777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inux</a:t>
            </a: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操作系统</a:t>
            </a:r>
          </a:p>
        </p:txBody>
      </p:sp>
      <p:sp>
        <p:nvSpPr>
          <p:cNvPr id="24" name="矩形 23"/>
          <p:cNvSpPr/>
          <p:nvPr/>
        </p:nvSpPr>
        <p:spPr>
          <a:xfrm>
            <a:off x="861814" y="3422037"/>
            <a:ext cx="2078885" cy="461665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我们使用腾讯云服务器，系统选择</a:t>
            </a:r>
            <a:r>
              <a:rPr lang="en-US" altLang="zh-CN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centOS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 7,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命令行操作.</a:t>
            </a:r>
          </a:p>
        </p:txBody>
      </p:sp>
      <p:sp>
        <p:nvSpPr>
          <p:cNvPr id="28" name="矩形 27"/>
          <p:cNvSpPr/>
          <p:nvPr/>
        </p:nvSpPr>
        <p:spPr>
          <a:xfrm>
            <a:off x="861814" y="4528793"/>
            <a:ext cx="1964674" cy="30777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库</a:t>
            </a:r>
            <a:r>
              <a:rPr lang="en-US" altLang="zh-CN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ysql</a:t>
            </a:r>
            <a:endParaRPr lang="zh-CN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3585037" y="1836310"/>
            <a:ext cx="2078884" cy="30777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ython</a:t>
            </a: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装饰器、多线程</a:t>
            </a:r>
            <a:endParaRPr lang="en-US" altLang="zh-CN" sz="1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3585037" y="2098457"/>
            <a:ext cx="2078885" cy="646331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后端登录验证、前端模板渲染、判题机时间限制等代码都需要用装饰器实现.</a:t>
            </a:r>
          </a:p>
        </p:txBody>
      </p:sp>
      <p:sp>
        <p:nvSpPr>
          <p:cNvPr id="33" name="矩形 32"/>
          <p:cNvSpPr/>
          <p:nvPr/>
        </p:nvSpPr>
        <p:spPr>
          <a:xfrm>
            <a:off x="3585037" y="3338896"/>
            <a:ext cx="1964674" cy="30777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服务器、云数据库</a:t>
            </a:r>
          </a:p>
        </p:txBody>
      </p:sp>
      <p:sp>
        <p:nvSpPr>
          <p:cNvPr id="34" name="矩形 33"/>
          <p:cNvSpPr/>
          <p:nvPr/>
        </p:nvSpPr>
        <p:spPr>
          <a:xfrm>
            <a:off x="3585037" y="3601044"/>
            <a:ext cx="2620600" cy="461665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购买腾讯云服务器、阿里云云数据库，减轻服务器压力，运行稳定</a:t>
            </a:r>
          </a:p>
        </p:txBody>
      </p:sp>
      <p:sp>
        <p:nvSpPr>
          <p:cNvPr id="35" name="矩形 34"/>
          <p:cNvSpPr/>
          <p:nvPr/>
        </p:nvSpPr>
        <p:spPr>
          <a:xfrm>
            <a:off x="861814" y="4949741"/>
            <a:ext cx="1946079" cy="646331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既使用了</a:t>
            </a:r>
            <a:r>
              <a:rPr lang="en-US" altLang="zh-CN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django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的</a:t>
            </a:r>
            <a:r>
              <a:rPr lang="en-US" altLang="zh-CN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orm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操作数据库，又使用</a:t>
            </a:r>
            <a:r>
              <a:rPr lang="en-US" altLang="zh-CN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sql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语句操作数据库</a:t>
            </a:r>
          </a:p>
        </p:txBody>
      </p:sp>
      <p:sp>
        <p:nvSpPr>
          <p:cNvPr id="36" name="矩形 35"/>
          <p:cNvSpPr/>
          <p:nvPr/>
        </p:nvSpPr>
        <p:spPr>
          <a:xfrm>
            <a:off x="3585037" y="438686"/>
            <a:ext cx="2078884" cy="30777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en-US" altLang="zh-CN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scode</a:t>
            </a: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远程开发</a:t>
            </a:r>
            <a:endParaRPr lang="en-US" altLang="zh-CN" sz="1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3585037" y="700833"/>
            <a:ext cx="2078885" cy="646331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因为服务器在云端，所以我们通过</a:t>
            </a:r>
            <a:r>
              <a:rPr lang="en-US" altLang="zh-CN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vscode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的</a:t>
            </a:r>
            <a:r>
              <a:rPr lang="en-US" altLang="zh-CN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ssh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插件连接到远程服务器写代码</a:t>
            </a:r>
          </a:p>
        </p:txBody>
      </p:sp>
      <p:sp>
        <p:nvSpPr>
          <p:cNvPr id="38" name="矩形 37"/>
          <p:cNvSpPr/>
          <p:nvPr/>
        </p:nvSpPr>
        <p:spPr>
          <a:xfrm>
            <a:off x="3585037" y="4949741"/>
            <a:ext cx="2078884" cy="30777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en-US" altLang="zh-CN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scode</a:t>
            </a: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远程开发</a:t>
            </a:r>
            <a:endParaRPr lang="en-US" altLang="zh-CN" sz="1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3585037" y="5211888"/>
            <a:ext cx="2078885" cy="646331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因为服务器在云端，所以我们通过</a:t>
            </a:r>
            <a:r>
              <a:rPr lang="en-US" altLang="zh-CN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vscode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的</a:t>
            </a:r>
            <a:r>
              <a:rPr lang="en-US" altLang="zh-CN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ssh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插件连接到远程服务器写代码</a:t>
            </a:r>
          </a:p>
        </p:txBody>
      </p:sp>
      <p:sp>
        <p:nvSpPr>
          <p:cNvPr id="40" name="矩形 39"/>
          <p:cNvSpPr/>
          <p:nvPr/>
        </p:nvSpPr>
        <p:spPr>
          <a:xfrm>
            <a:off x="6824397" y="438686"/>
            <a:ext cx="1964674" cy="30777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前后端分离架构</a:t>
            </a:r>
          </a:p>
        </p:txBody>
      </p:sp>
      <p:sp>
        <p:nvSpPr>
          <p:cNvPr id="41" name="矩形 40"/>
          <p:cNvSpPr/>
          <p:nvPr/>
        </p:nvSpPr>
        <p:spPr>
          <a:xfrm>
            <a:off x="6824397" y="700835"/>
            <a:ext cx="2230226" cy="646330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部分页面，如风云榜，题目评测都使用了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ajax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实现前后端分离，数据传输格式为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json</a:t>
            </a:r>
            <a:endParaRPr lang="zh-CN" altLang="en-US" sz="1200" dirty="0">
              <a:solidFill>
                <a:schemeClr val="tx1">
                  <a:lumMod val="75000"/>
                  <a:lumOff val="25000"/>
                </a:schemeClr>
              </a:solidFill>
              <a:latin typeface="Bahnschrift SemiLight" panose="020B0502040204020203" pitchFamily="34" charset="0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6715540" y="2021889"/>
            <a:ext cx="1452183" cy="30777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en-US" altLang="zh-CN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,gitee</a:t>
            </a:r>
            <a:endParaRPr lang="zh-CN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6715540" y="2284038"/>
            <a:ext cx="1964674" cy="461665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使用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git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作为版本迭代工具，</a:t>
            </a:r>
            <a:r>
              <a:rPr lang="en-US" altLang="zh-CN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gitee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为版本发布平台</a:t>
            </a:r>
          </a:p>
        </p:txBody>
      </p:sp>
      <p:sp>
        <p:nvSpPr>
          <p:cNvPr id="44" name="矩形 43"/>
          <p:cNvSpPr/>
          <p:nvPr/>
        </p:nvSpPr>
        <p:spPr>
          <a:xfrm>
            <a:off x="9460634" y="2060630"/>
            <a:ext cx="1964674" cy="30777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容器技术</a:t>
            </a:r>
          </a:p>
        </p:txBody>
      </p:sp>
      <p:sp>
        <p:nvSpPr>
          <p:cNvPr id="45" name="矩形 44"/>
          <p:cNvSpPr/>
          <p:nvPr/>
        </p:nvSpPr>
        <p:spPr>
          <a:xfrm>
            <a:off x="9460634" y="2322779"/>
            <a:ext cx="2230226" cy="83099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我们把判题机放进了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docker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里，在任何一台能运行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docker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的电脑上都可以部署判题机，判题机越多，判题速度越快</a:t>
            </a:r>
          </a:p>
        </p:txBody>
      </p:sp>
      <p:sp>
        <p:nvSpPr>
          <p:cNvPr id="46" name="矩形 45"/>
          <p:cNvSpPr/>
          <p:nvPr/>
        </p:nvSpPr>
        <p:spPr>
          <a:xfrm>
            <a:off x="6444342" y="3488398"/>
            <a:ext cx="1964674" cy="30777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队列算法</a:t>
            </a:r>
          </a:p>
        </p:txBody>
      </p:sp>
      <p:sp>
        <p:nvSpPr>
          <p:cNvPr id="47" name="矩形 46"/>
          <p:cNvSpPr/>
          <p:nvPr/>
        </p:nvSpPr>
        <p:spPr>
          <a:xfrm>
            <a:off x="6444342" y="3750547"/>
            <a:ext cx="2230226" cy="646331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巧妙利用</a:t>
            </a:r>
            <a:r>
              <a:rPr lang="en-US" altLang="zh-CN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mysql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数据库的事务管理实现了判题的队列算法，实现了先到先判功能</a:t>
            </a:r>
          </a:p>
        </p:txBody>
      </p:sp>
      <p:sp>
        <p:nvSpPr>
          <p:cNvPr id="48" name="矩形 47"/>
          <p:cNvSpPr/>
          <p:nvPr/>
        </p:nvSpPr>
        <p:spPr>
          <a:xfrm>
            <a:off x="6425747" y="4971962"/>
            <a:ext cx="1964674" cy="30777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ootstrap</a:t>
            </a:r>
            <a:endParaRPr lang="zh-CN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矩形 48"/>
          <p:cNvSpPr/>
          <p:nvPr/>
        </p:nvSpPr>
        <p:spPr>
          <a:xfrm>
            <a:off x="6425747" y="5234111"/>
            <a:ext cx="2230226" cy="276999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当前最流行的前端框架</a:t>
            </a:r>
          </a:p>
        </p:txBody>
      </p:sp>
      <p:sp>
        <p:nvSpPr>
          <p:cNvPr id="50" name="矩形 49"/>
          <p:cNvSpPr/>
          <p:nvPr/>
        </p:nvSpPr>
        <p:spPr>
          <a:xfrm>
            <a:off x="6444342" y="5684523"/>
            <a:ext cx="1964674" cy="30777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Query</a:t>
            </a:r>
            <a:endParaRPr lang="zh-CN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6444342" y="5946672"/>
            <a:ext cx="2230226" cy="276999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用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jQuery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实现了不少前端功能</a:t>
            </a:r>
          </a:p>
        </p:txBody>
      </p:sp>
      <p:sp>
        <p:nvSpPr>
          <p:cNvPr id="52" name="矩形 51"/>
          <p:cNvSpPr/>
          <p:nvPr/>
        </p:nvSpPr>
        <p:spPr>
          <a:xfrm>
            <a:off x="9373549" y="755282"/>
            <a:ext cx="2317311" cy="30777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ginx</a:t>
            </a: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＋</a:t>
            </a:r>
            <a:r>
              <a:rPr lang="en-US" altLang="zh-CN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unicorn</a:t>
            </a: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署</a:t>
            </a:r>
          </a:p>
        </p:txBody>
      </p:sp>
      <p:sp>
        <p:nvSpPr>
          <p:cNvPr id="53" name="矩形 52"/>
          <p:cNvSpPr/>
          <p:nvPr/>
        </p:nvSpPr>
        <p:spPr>
          <a:xfrm>
            <a:off x="9373550" y="1017431"/>
            <a:ext cx="2230226" cy="646331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为了提高网站响应速度，实现负载均衡，我们使用主流的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Nginx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＋</a:t>
            </a:r>
            <a:r>
              <a:rPr lang="en-US" altLang="zh-CN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gunicorn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在云端部署</a:t>
            </a:r>
          </a:p>
        </p:txBody>
      </p:sp>
      <p:sp>
        <p:nvSpPr>
          <p:cNvPr id="54" name="矩形 53"/>
          <p:cNvSpPr/>
          <p:nvPr/>
        </p:nvSpPr>
        <p:spPr>
          <a:xfrm>
            <a:off x="9460634" y="4035270"/>
            <a:ext cx="1964674" cy="30777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工智能</a:t>
            </a:r>
          </a:p>
        </p:txBody>
      </p:sp>
      <p:sp>
        <p:nvSpPr>
          <p:cNvPr id="55" name="矩形 54"/>
          <p:cNvSpPr/>
          <p:nvPr/>
        </p:nvSpPr>
        <p:spPr>
          <a:xfrm>
            <a:off x="9460634" y="4541613"/>
            <a:ext cx="2230226" cy="276999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SemiLight" panose="020B0502040204020203" pitchFamily="34" charset="0"/>
              </a:rPr>
              <a:t>人脸识别和推荐系统</a:t>
            </a:r>
          </a:p>
        </p:txBody>
      </p:sp>
    </p:spTree>
    <p:custDataLst>
      <p:tags r:id="rId1"/>
    </p:custData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17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050173" name="标题 4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zh-CN" altLang="en-US" sz="6000" dirty="0">
                <a:solidFill>
                  <a:schemeClr val="accent1"/>
                </a:solidFill>
              </a:rPr>
              <a:t>请各位评委老师评指正</a:t>
            </a:r>
            <a:br>
              <a:rPr lang="zh-CN" altLang="en-US" sz="6000" dirty="0">
                <a:solidFill>
                  <a:schemeClr val="accent1"/>
                </a:solidFill>
              </a:rPr>
            </a:br>
            <a:r>
              <a:rPr lang="zh-CN" altLang="en-US" sz="6000" dirty="0">
                <a:solidFill>
                  <a:schemeClr val="accent1"/>
                </a:solidFill>
              </a:rPr>
              <a:t>谢谢观看！</a:t>
            </a:r>
          </a:p>
        </p:txBody>
      </p:sp>
      <p:sp>
        <p:nvSpPr>
          <p:cNvPr id="1050174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8411210" y="4792345"/>
            <a:ext cx="3259455" cy="311150"/>
          </a:xfrm>
        </p:spPr>
        <p:txBody>
          <a:bodyPr/>
          <a:lstStyle/>
          <a:p>
            <a:r>
              <a:rPr lang="en-US" altLang="zh-CN" dirty="0">
                <a:solidFill>
                  <a:schemeClr val="tx2"/>
                </a:solidFill>
              </a:rPr>
              <a:t>2021.9.23</a:t>
            </a:r>
          </a:p>
        </p:txBody>
      </p:sp>
      <p:sp>
        <p:nvSpPr>
          <p:cNvPr id="1050175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7343140" y="3648635"/>
            <a:ext cx="4327525" cy="99218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dirty="0" err="1">
                <a:solidFill>
                  <a:schemeClr val="tx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智能化在线测试教育平台</a:t>
            </a:r>
            <a:endParaRPr lang="en-US" dirty="0">
              <a:solidFill>
                <a:schemeClr val="tx2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+mn-ea"/>
            </a:endParaRPr>
          </a:p>
          <a:p>
            <a:pPr>
              <a:lnSpc>
                <a:spcPct val="100000"/>
              </a:lnSpc>
            </a:pPr>
            <a:r>
              <a:rPr lang="zh-CN" altLang="en-US" dirty="0">
                <a:solidFill>
                  <a:schemeClr val="tx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指导教师：李昕</a:t>
            </a:r>
          </a:p>
          <a:p>
            <a:pPr>
              <a:lnSpc>
                <a:spcPct val="100000"/>
              </a:lnSpc>
            </a:pPr>
            <a:r>
              <a:rPr lang="zh-CN" altLang="zh-CN" dirty="0">
                <a:solidFill>
                  <a:schemeClr val="tx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开发者：孙百乐、徐朔、王文婕、廖集秀</a:t>
            </a:r>
          </a:p>
        </p:txBody>
      </p:sp>
      <p:grpSp>
        <p:nvGrpSpPr>
          <p:cNvPr id="93" name="组合 3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/>
          <p:nvPr/>
        </p:nvGrpSpPr>
        <p:grpSpPr>
          <a:xfrm>
            <a:off x="10073640" y="661444"/>
            <a:ext cx="1445260" cy="342314"/>
            <a:chOff x="2203450" y="2508250"/>
            <a:chExt cx="7788275" cy="1844675"/>
          </a:xfrm>
        </p:grpSpPr>
        <p:sp>
          <p:nvSpPr>
            <p:cNvPr id="1050176" name="îṩḻîḍê"/>
            <p:cNvSpPr/>
            <p:nvPr/>
          </p:nvSpPr>
          <p:spPr bwMode="auto">
            <a:xfrm>
              <a:off x="2203450" y="2508250"/>
              <a:ext cx="1838325" cy="1844675"/>
            </a:xfrm>
            <a:custGeom>
              <a:avLst/>
              <a:gdLst>
                <a:gd name="T0" fmla="*/ 520 w 691"/>
                <a:gd name="T1" fmla="*/ 58 h 691"/>
                <a:gd name="T2" fmla="*/ 512 w 691"/>
                <a:gd name="T3" fmla="*/ 53 h 691"/>
                <a:gd name="T4" fmla="*/ 475 w 691"/>
                <a:gd name="T5" fmla="*/ 35 h 691"/>
                <a:gd name="T6" fmla="*/ 376 w 691"/>
                <a:gd name="T7" fmla="*/ 11 h 691"/>
                <a:gd name="T8" fmla="*/ 153 w 691"/>
                <a:gd name="T9" fmla="*/ 70 h 691"/>
                <a:gd name="T10" fmla="*/ 68 w 691"/>
                <a:gd name="T11" fmla="*/ 156 h 691"/>
                <a:gd name="T12" fmla="*/ 66 w 691"/>
                <a:gd name="T13" fmla="*/ 159 h 691"/>
                <a:gd name="T14" fmla="*/ 62 w 691"/>
                <a:gd name="T15" fmla="*/ 164 h 691"/>
                <a:gd name="T16" fmla="*/ 58 w 691"/>
                <a:gd name="T17" fmla="*/ 172 h 691"/>
                <a:gd name="T18" fmla="*/ 40 w 691"/>
                <a:gd name="T19" fmla="*/ 205 h 691"/>
                <a:gd name="T20" fmla="*/ 35 w 691"/>
                <a:gd name="T21" fmla="*/ 218 h 691"/>
                <a:gd name="T22" fmla="*/ 29 w 691"/>
                <a:gd name="T23" fmla="*/ 233 h 691"/>
                <a:gd name="T24" fmla="*/ 94 w 691"/>
                <a:gd name="T25" fmla="*/ 567 h 691"/>
                <a:gd name="T26" fmla="*/ 430 w 691"/>
                <a:gd name="T27" fmla="*/ 670 h 691"/>
                <a:gd name="T28" fmla="*/ 478 w 691"/>
                <a:gd name="T29" fmla="*/ 654 h 691"/>
                <a:gd name="T30" fmla="*/ 485 w 691"/>
                <a:gd name="T31" fmla="*/ 651 h 691"/>
                <a:gd name="T32" fmla="*/ 518 w 691"/>
                <a:gd name="T33" fmla="*/ 634 h 691"/>
                <a:gd name="T34" fmla="*/ 526 w 691"/>
                <a:gd name="T35" fmla="*/ 628 h 691"/>
                <a:gd name="T36" fmla="*/ 533 w 691"/>
                <a:gd name="T37" fmla="*/ 624 h 691"/>
                <a:gd name="T38" fmla="*/ 541 w 691"/>
                <a:gd name="T39" fmla="*/ 618 h 691"/>
                <a:gd name="T40" fmla="*/ 548 w 691"/>
                <a:gd name="T41" fmla="*/ 613 h 691"/>
                <a:gd name="T42" fmla="*/ 556 w 691"/>
                <a:gd name="T43" fmla="*/ 607 h 691"/>
                <a:gd name="T44" fmla="*/ 566 w 691"/>
                <a:gd name="T45" fmla="*/ 599 h 691"/>
                <a:gd name="T46" fmla="*/ 573 w 691"/>
                <a:gd name="T47" fmla="*/ 592 h 691"/>
                <a:gd name="T48" fmla="*/ 591 w 691"/>
                <a:gd name="T49" fmla="*/ 574 h 691"/>
                <a:gd name="T50" fmla="*/ 604 w 691"/>
                <a:gd name="T51" fmla="*/ 559 h 691"/>
                <a:gd name="T52" fmla="*/ 608 w 691"/>
                <a:gd name="T53" fmla="*/ 555 h 691"/>
                <a:gd name="T54" fmla="*/ 612 w 691"/>
                <a:gd name="T55" fmla="*/ 549 h 691"/>
                <a:gd name="T56" fmla="*/ 674 w 691"/>
                <a:gd name="T57" fmla="*/ 416 h 691"/>
                <a:gd name="T58" fmla="*/ 678 w 691"/>
                <a:gd name="T59" fmla="*/ 394 h 691"/>
                <a:gd name="T60" fmla="*/ 658 w 691"/>
                <a:gd name="T61" fmla="*/ 223 h 691"/>
                <a:gd name="T62" fmla="*/ 652 w 691"/>
                <a:gd name="T63" fmla="*/ 207 h 691"/>
                <a:gd name="T64" fmla="*/ 642 w 691"/>
                <a:gd name="T65" fmla="*/ 189 h 691"/>
                <a:gd name="T66" fmla="*/ 631 w 691"/>
                <a:gd name="T67" fmla="*/ 168 h 691"/>
                <a:gd name="T68" fmla="*/ 593 w 691"/>
                <a:gd name="T69" fmla="*/ 118 h 691"/>
                <a:gd name="T70" fmla="*/ 331 w 691"/>
                <a:gd name="T71" fmla="*/ 0 h 691"/>
                <a:gd name="T72" fmla="*/ 537 w 691"/>
                <a:gd name="T73" fmla="*/ 58 h 691"/>
                <a:gd name="T74" fmla="*/ 554 w 691"/>
                <a:gd name="T75" fmla="*/ 70 h 691"/>
                <a:gd name="T76" fmla="*/ 558 w 691"/>
                <a:gd name="T77" fmla="*/ 73 h 691"/>
                <a:gd name="T78" fmla="*/ 571 w 691"/>
                <a:gd name="T79" fmla="*/ 84 h 691"/>
                <a:gd name="T80" fmla="*/ 575 w 691"/>
                <a:gd name="T81" fmla="*/ 87 h 691"/>
                <a:gd name="T82" fmla="*/ 600 w 691"/>
                <a:gd name="T83" fmla="*/ 112 h 691"/>
                <a:gd name="T84" fmla="*/ 617 w 691"/>
                <a:gd name="T85" fmla="*/ 131 h 691"/>
                <a:gd name="T86" fmla="*/ 691 w 691"/>
                <a:gd name="T87" fmla="*/ 355 h 691"/>
                <a:gd name="T88" fmla="*/ 491 w 691"/>
                <a:gd name="T89" fmla="*/ 659 h 691"/>
                <a:gd name="T90" fmla="*/ 201 w 691"/>
                <a:gd name="T91" fmla="*/ 660 h 691"/>
                <a:gd name="T92" fmla="*/ 130 w 691"/>
                <a:gd name="T93" fmla="*/ 616 h 691"/>
                <a:gd name="T94" fmla="*/ 120 w 691"/>
                <a:gd name="T95" fmla="*/ 608 h 691"/>
                <a:gd name="T96" fmla="*/ 95 w 691"/>
                <a:gd name="T97" fmla="*/ 583 h 691"/>
                <a:gd name="T98" fmla="*/ 83 w 691"/>
                <a:gd name="T99" fmla="*/ 571 h 691"/>
                <a:gd name="T100" fmla="*/ 75 w 691"/>
                <a:gd name="T101" fmla="*/ 561 h 691"/>
                <a:gd name="T102" fmla="*/ 71 w 691"/>
                <a:gd name="T103" fmla="*/ 556 h 691"/>
                <a:gd name="T104" fmla="*/ 68 w 691"/>
                <a:gd name="T105" fmla="*/ 551 h 691"/>
                <a:gd name="T106" fmla="*/ 0 w 691"/>
                <a:gd name="T107" fmla="*/ 360 h 691"/>
                <a:gd name="T108" fmla="*/ 24 w 691"/>
                <a:gd name="T109" fmla="*/ 220 h 691"/>
                <a:gd name="T110" fmla="*/ 25 w 691"/>
                <a:gd name="T111" fmla="*/ 215 h 691"/>
                <a:gd name="T112" fmla="*/ 27 w 691"/>
                <a:gd name="T113" fmla="*/ 213 h 691"/>
                <a:gd name="T114" fmla="*/ 36 w 691"/>
                <a:gd name="T115" fmla="*/ 191 h 691"/>
                <a:gd name="T116" fmla="*/ 63 w 691"/>
                <a:gd name="T117" fmla="*/ 146 h 691"/>
                <a:gd name="T118" fmla="*/ 331 w 691"/>
                <a:gd name="T119" fmla="*/ 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91" h="691">
                  <a:moveTo>
                    <a:pt x="525" y="61"/>
                  </a:moveTo>
                  <a:cubicBezTo>
                    <a:pt x="524" y="61"/>
                    <a:pt x="524" y="60"/>
                    <a:pt x="523" y="60"/>
                  </a:cubicBezTo>
                  <a:cubicBezTo>
                    <a:pt x="522" y="59"/>
                    <a:pt x="521" y="59"/>
                    <a:pt x="520" y="58"/>
                  </a:cubicBezTo>
                  <a:cubicBezTo>
                    <a:pt x="518" y="57"/>
                    <a:pt x="517" y="56"/>
                    <a:pt x="516" y="56"/>
                  </a:cubicBezTo>
                  <a:cubicBezTo>
                    <a:pt x="515" y="55"/>
                    <a:pt x="514" y="55"/>
                    <a:pt x="512" y="54"/>
                  </a:cubicBezTo>
                  <a:cubicBezTo>
                    <a:pt x="512" y="54"/>
                    <a:pt x="512" y="53"/>
                    <a:pt x="512" y="53"/>
                  </a:cubicBezTo>
                  <a:cubicBezTo>
                    <a:pt x="512" y="53"/>
                    <a:pt x="511" y="53"/>
                    <a:pt x="511" y="53"/>
                  </a:cubicBezTo>
                  <a:cubicBezTo>
                    <a:pt x="509" y="52"/>
                    <a:pt x="507" y="51"/>
                    <a:pt x="505" y="50"/>
                  </a:cubicBezTo>
                  <a:cubicBezTo>
                    <a:pt x="496" y="44"/>
                    <a:pt x="485" y="39"/>
                    <a:pt x="475" y="35"/>
                  </a:cubicBezTo>
                  <a:cubicBezTo>
                    <a:pt x="471" y="34"/>
                    <a:pt x="467" y="32"/>
                    <a:pt x="463" y="31"/>
                  </a:cubicBezTo>
                  <a:cubicBezTo>
                    <a:pt x="459" y="29"/>
                    <a:pt x="455" y="27"/>
                    <a:pt x="451" y="26"/>
                  </a:cubicBezTo>
                  <a:cubicBezTo>
                    <a:pt x="428" y="18"/>
                    <a:pt x="404" y="13"/>
                    <a:pt x="376" y="11"/>
                  </a:cubicBezTo>
                  <a:cubicBezTo>
                    <a:pt x="362" y="10"/>
                    <a:pt x="348" y="9"/>
                    <a:pt x="333" y="9"/>
                  </a:cubicBezTo>
                  <a:cubicBezTo>
                    <a:pt x="276" y="12"/>
                    <a:pt x="229" y="27"/>
                    <a:pt x="190" y="47"/>
                  </a:cubicBezTo>
                  <a:cubicBezTo>
                    <a:pt x="177" y="54"/>
                    <a:pt x="164" y="62"/>
                    <a:pt x="153" y="70"/>
                  </a:cubicBezTo>
                  <a:cubicBezTo>
                    <a:pt x="129" y="87"/>
                    <a:pt x="108" y="106"/>
                    <a:pt x="89" y="128"/>
                  </a:cubicBezTo>
                  <a:cubicBezTo>
                    <a:pt x="82" y="136"/>
                    <a:pt x="76" y="145"/>
                    <a:pt x="70" y="153"/>
                  </a:cubicBezTo>
                  <a:cubicBezTo>
                    <a:pt x="69" y="154"/>
                    <a:pt x="68" y="155"/>
                    <a:pt x="68" y="156"/>
                  </a:cubicBezTo>
                  <a:cubicBezTo>
                    <a:pt x="68" y="156"/>
                    <a:pt x="68" y="157"/>
                    <a:pt x="67" y="157"/>
                  </a:cubicBezTo>
                  <a:cubicBezTo>
                    <a:pt x="67" y="157"/>
                    <a:pt x="67" y="158"/>
                    <a:pt x="67" y="158"/>
                  </a:cubicBezTo>
                  <a:cubicBezTo>
                    <a:pt x="66" y="158"/>
                    <a:pt x="66" y="159"/>
                    <a:pt x="66" y="159"/>
                  </a:cubicBezTo>
                  <a:cubicBezTo>
                    <a:pt x="65" y="160"/>
                    <a:pt x="65" y="160"/>
                    <a:pt x="65" y="160"/>
                  </a:cubicBezTo>
                  <a:cubicBezTo>
                    <a:pt x="65" y="161"/>
                    <a:pt x="65" y="161"/>
                    <a:pt x="64" y="162"/>
                  </a:cubicBezTo>
                  <a:cubicBezTo>
                    <a:pt x="63" y="162"/>
                    <a:pt x="63" y="163"/>
                    <a:pt x="62" y="164"/>
                  </a:cubicBezTo>
                  <a:cubicBezTo>
                    <a:pt x="61" y="166"/>
                    <a:pt x="61" y="167"/>
                    <a:pt x="60" y="168"/>
                  </a:cubicBezTo>
                  <a:cubicBezTo>
                    <a:pt x="60" y="169"/>
                    <a:pt x="59" y="169"/>
                    <a:pt x="59" y="169"/>
                  </a:cubicBezTo>
                  <a:cubicBezTo>
                    <a:pt x="59" y="170"/>
                    <a:pt x="58" y="171"/>
                    <a:pt x="58" y="172"/>
                  </a:cubicBezTo>
                  <a:cubicBezTo>
                    <a:pt x="57" y="172"/>
                    <a:pt x="57" y="173"/>
                    <a:pt x="57" y="174"/>
                  </a:cubicBezTo>
                  <a:cubicBezTo>
                    <a:pt x="55" y="176"/>
                    <a:pt x="54" y="178"/>
                    <a:pt x="52" y="181"/>
                  </a:cubicBezTo>
                  <a:cubicBezTo>
                    <a:pt x="48" y="189"/>
                    <a:pt x="44" y="197"/>
                    <a:pt x="40" y="205"/>
                  </a:cubicBezTo>
                  <a:cubicBezTo>
                    <a:pt x="40" y="205"/>
                    <a:pt x="40" y="206"/>
                    <a:pt x="40" y="206"/>
                  </a:cubicBezTo>
                  <a:cubicBezTo>
                    <a:pt x="39" y="208"/>
                    <a:pt x="38" y="209"/>
                    <a:pt x="37" y="211"/>
                  </a:cubicBezTo>
                  <a:cubicBezTo>
                    <a:pt x="36" y="213"/>
                    <a:pt x="35" y="216"/>
                    <a:pt x="35" y="218"/>
                  </a:cubicBezTo>
                  <a:cubicBezTo>
                    <a:pt x="34" y="218"/>
                    <a:pt x="34" y="219"/>
                    <a:pt x="34" y="219"/>
                  </a:cubicBezTo>
                  <a:cubicBezTo>
                    <a:pt x="33" y="220"/>
                    <a:pt x="33" y="221"/>
                    <a:pt x="33" y="222"/>
                  </a:cubicBezTo>
                  <a:cubicBezTo>
                    <a:pt x="32" y="226"/>
                    <a:pt x="30" y="229"/>
                    <a:pt x="29" y="233"/>
                  </a:cubicBezTo>
                  <a:cubicBezTo>
                    <a:pt x="20" y="259"/>
                    <a:pt x="13" y="288"/>
                    <a:pt x="11" y="320"/>
                  </a:cubicBezTo>
                  <a:cubicBezTo>
                    <a:pt x="8" y="350"/>
                    <a:pt x="10" y="378"/>
                    <a:pt x="15" y="404"/>
                  </a:cubicBezTo>
                  <a:cubicBezTo>
                    <a:pt x="27" y="472"/>
                    <a:pt x="57" y="525"/>
                    <a:pt x="94" y="567"/>
                  </a:cubicBezTo>
                  <a:cubicBezTo>
                    <a:pt x="120" y="597"/>
                    <a:pt x="151" y="622"/>
                    <a:pt x="187" y="642"/>
                  </a:cubicBezTo>
                  <a:cubicBezTo>
                    <a:pt x="219" y="658"/>
                    <a:pt x="255" y="672"/>
                    <a:pt x="298" y="678"/>
                  </a:cubicBezTo>
                  <a:cubicBezTo>
                    <a:pt x="344" y="684"/>
                    <a:pt x="392" y="680"/>
                    <a:pt x="430" y="670"/>
                  </a:cubicBezTo>
                  <a:cubicBezTo>
                    <a:pt x="438" y="668"/>
                    <a:pt x="445" y="666"/>
                    <a:pt x="452" y="664"/>
                  </a:cubicBezTo>
                  <a:cubicBezTo>
                    <a:pt x="456" y="663"/>
                    <a:pt x="461" y="661"/>
                    <a:pt x="465" y="659"/>
                  </a:cubicBezTo>
                  <a:cubicBezTo>
                    <a:pt x="470" y="657"/>
                    <a:pt x="474" y="656"/>
                    <a:pt x="478" y="654"/>
                  </a:cubicBezTo>
                  <a:cubicBezTo>
                    <a:pt x="478" y="654"/>
                    <a:pt x="479" y="653"/>
                    <a:pt x="480" y="653"/>
                  </a:cubicBezTo>
                  <a:cubicBezTo>
                    <a:pt x="480" y="653"/>
                    <a:pt x="481" y="653"/>
                    <a:pt x="481" y="653"/>
                  </a:cubicBezTo>
                  <a:cubicBezTo>
                    <a:pt x="482" y="652"/>
                    <a:pt x="483" y="651"/>
                    <a:pt x="485" y="651"/>
                  </a:cubicBezTo>
                  <a:cubicBezTo>
                    <a:pt x="485" y="650"/>
                    <a:pt x="486" y="651"/>
                    <a:pt x="486" y="650"/>
                  </a:cubicBezTo>
                  <a:cubicBezTo>
                    <a:pt x="487" y="650"/>
                    <a:pt x="488" y="650"/>
                    <a:pt x="488" y="650"/>
                  </a:cubicBezTo>
                  <a:cubicBezTo>
                    <a:pt x="498" y="645"/>
                    <a:pt x="508" y="639"/>
                    <a:pt x="518" y="634"/>
                  </a:cubicBezTo>
                  <a:cubicBezTo>
                    <a:pt x="519" y="633"/>
                    <a:pt x="521" y="632"/>
                    <a:pt x="522" y="631"/>
                  </a:cubicBezTo>
                  <a:cubicBezTo>
                    <a:pt x="522" y="631"/>
                    <a:pt x="523" y="630"/>
                    <a:pt x="523" y="630"/>
                  </a:cubicBezTo>
                  <a:cubicBezTo>
                    <a:pt x="524" y="630"/>
                    <a:pt x="525" y="629"/>
                    <a:pt x="526" y="628"/>
                  </a:cubicBezTo>
                  <a:cubicBezTo>
                    <a:pt x="527" y="628"/>
                    <a:pt x="528" y="627"/>
                    <a:pt x="529" y="627"/>
                  </a:cubicBezTo>
                  <a:cubicBezTo>
                    <a:pt x="530" y="626"/>
                    <a:pt x="531" y="625"/>
                    <a:pt x="532" y="624"/>
                  </a:cubicBezTo>
                  <a:cubicBezTo>
                    <a:pt x="532" y="624"/>
                    <a:pt x="533" y="624"/>
                    <a:pt x="533" y="624"/>
                  </a:cubicBezTo>
                  <a:cubicBezTo>
                    <a:pt x="534" y="623"/>
                    <a:pt x="535" y="622"/>
                    <a:pt x="536" y="622"/>
                  </a:cubicBezTo>
                  <a:cubicBezTo>
                    <a:pt x="537" y="621"/>
                    <a:pt x="538" y="620"/>
                    <a:pt x="539" y="620"/>
                  </a:cubicBezTo>
                  <a:cubicBezTo>
                    <a:pt x="540" y="619"/>
                    <a:pt x="540" y="619"/>
                    <a:pt x="541" y="618"/>
                  </a:cubicBezTo>
                  <a:cubicBezTo>
                    <a:pt x="542" y="617"/>
                    <a:pt x="543" y="617"/>
                    <a:pt x="544" y="616"/>
                  </a:cubicBezTo>
                  <a:cubicBezTo>
                    <a:pt x="544" y="616"/>
                    <a:pt x="545" y="616"/>
                    <a:pt x="545" y="615"/>
                  </a:cubicBezTo>
                  <a:cubicBezTo>
                    <a:pt x="546" y="615"/>
                    <a:pt x="547" y="614"/>
                    <a:pt x="548" y="613"/>
                  </a:cubicBezTo>
                  <a:cubicBezTo>
                    <a:pt x="548" y="613"/>
                    <a:pt x="549" y="613"/>
                    <a:pt x="549" y="612"/>
                  </a:cubicBezTo>
                  <a:cubicBezTo>
                    <a:pt x="551" y="611"/>
                    <a:pt x="552" y="610"/>
                    <a:pt x="553" y="609"/>
                  </a:cubicBezTo>
                  <a:cubicBezTo>
                    <a:pt x="554" y="609"/>
                    <a:pt x="555" y="608"/>
                    <a:pt x="556" y="607"/>
                  </a:cubicBezTo>
                  <a:cubicBezTo>
                    <a:pt x="556" y="607"/>
                    <a:pt x="557" y="606"/>
                    <a:pt x="558" y="605"/>
                  </a:cubicBezTo>
                  <a:cubicBezTo>
                    <a:pt x="559" y="604"/>
                    <a:pt x="560" y="604"/>
                    <a:pt x="561" y="603"/>
                  </a:cubicBezTo>
                  <a:cubicBezTo>
                    <a:pt x="562" y="602"/>
                    <a:pt x="564" y="600"/>
                    <a:pt x="566" y="599"/>
                  </a:cubicBezTo>
                  <a:cubicBezTo>
                    <a:pt x="566" y="598"/>
                    <a:pt x="567" y="597"/>
                    <a:pt x="568" y="597"/>
                  </a:cubicBezTo>
                  <a:cubicBezTo>
                    <a:pt x="569" y="596"/>
                    <a:pt x="570" y="595"/>
                    <a:pt x="571" y="595"/>
                  </a:cubicBezTo>
                  <a:cubicBezTo>
                    <a:pt x="571" y="594"/>
                    <a:pt x="572" y="593"/>
                    <a:pt x="573" y="592"/>
                  </a:cubicBezTo>
                  <a:cubicBezTo>
                    <a:pt x="574" y="591"/>
                    <a:pt x="576" y="589"/>
                    <a:pt x="578" y="588"/>
                  </a:cubicBezTo>
                  <a:cubicBezTo>
                    <a:pt x="582" y="583"/>
                    <a:pt x="582" y="583"/>
                    <a:pt x="582" y="583"/>
                  </a:cubicBezTo>
                  <a:cubicBezTo>
                    <a:pt x="585" y="580"/>
                    <a:pt x="589" y="577"/>
                    <a:pt x="591" y="574"/>
                  </a:cubicBezTo>
                  <a:cubicBezTo>
                    <a:pt x="592" y="574"/>
                    <a:pt x="592" y="573"/>
                    <a:pt x="592" y="573"/>
                  </a:cubicBezTo>
                  <a:cubicBezTo>
                    <a:pt x="593" y="572"/>
                    <a:pt x="593" y="572"/>
                    <a:pt x="593" y="572"/>
                  </a:cubicBezTo>
                  <a:cubicBezTo>
                    <a:pt x="597" y="567"/>
                    <a:pt x="601" y="563"/>
                    <a:pt x="604" y="559"/>
                  </a:cubicBezTo>
                  <a:cubicBezTo>
                    <a:pt x="605" y="559"/>
                    <a:pt x="606" y="558"/>
                    <a:pt x="606" y="557"/>
                  </a:cubicBezTo>
                  <a:cubicBezTo>
                    <a:pt x="607" y="557"/>
                    <a:pt x="607" y="556"/>
                    <a:pt x="607" y="556"/>
                  </a:cubicBezTo>
                  <a:cubicBezTo>
                    <a:pt x="607" y="555"/>
                    <a:pt x="608" y="555"/>
                    <a:pt x="608" y="555"/>
                  </a:cubicBezTo>
                  <a:cubicBezTo>
                    <a:pt x="608" y="555"/>
                    <a:pt x="608" y="554"/>
                    <a:pt x="608" y="554"/>
                  </a:cubicBezTo>
                  <a:cubicBezTo>
                    <a:pt x="609" y="553"/>
                    <a:pt x="610" y="553"/>
                    <a:pt x="611" y="552"/>
                  </a:cubicBezTo>
                  <a:cubicBezTo>
                    <a:pt x="611" y="551"/>
                    <a:pt x="612" y="550"/>
                    <a:pt x="612" y="549"/>
                  </a:cubicBezTo>
                  <a:cubicBezTo>
                    <a:pt x="622" y="537"/>
                    <a:pt x="630" y="524"/>
                    <a:pt x="638" y="510"/>
                  </a:cubicBezTo>
                  <a:cubicBezTo>
                    <a:pt x="652" y="485"/>
                    <a:pt x="664" y="456"/>
                    <a:pt x="672" y="425"/>
                  </a:cubicBezTo>
                  <a:cubicBezTo>
                    <a:pt x="673" y="422"/>
                    <a:pt x="674" y="419"/>
                    <a:pt x="674" y="416"/>
                  </a:cubicBezTo>
                  <a:cubicBezTo>
                    <a:pt x="675" y="412"/>
                    <a:pt x="675" y="408"/>
                    <a:pt x="676" y="404"/>
                  </a:cubicBezTo>
                  <a:cubicBezTo>
                    <a:pt x="676" y="403"/>
                    <a:pt x="677" y="403"/>
                    <a:pt x="677" y="402"/>
                  </a:cubicBezTo>
                  <a:cubicBezTo>
                    <a:pt x="677" y="400"/>
                    <a:pt x="677" y="397"/>
                    <a:pt x="678" y="394"/>
                  </a:cubicBezTo>
                  <a:cubicBezTo>
                    <a:pt x="679" y="386"/>
                    <a:pt x="680" y="378"/>
                    <a:pt x="681" y="369"/>
                  </a:cubicBezTo>
                  <a:cubicBezTo>
                    <a:pt x="684" y="320"/>
                    <a:pt x="676" y="275"/>
                    <a:pt x="665" y="240"/>
                  </a:cubicBezTo>
                  <a:cubicBezTo>
                    <a:pt x="663" y="234"/>
                    <a:pt x="660" y="228"/>
                    <a:pt x="658" y="223"/>
                  </a:cubicBezTo>
                  <a:cubicBezTo>
                    <a:pt x="657" y="220"/>
                    <a:pt x="656" y="217"/>
                    <a:pt x="655" y="214"/>
                  </a:cubicBezTo>
                  <a:cubicBezTo>
                    <a:pt x="655" y="214"/>
                    <a:pt x="654" y="214"/>
                    <a:pt x="654" y="213"/>
                  </a:cubicBezTo>
                  <a:cubicBezTo>
                    <a:pt x="653" y="211"/>
                    <a:pt x="653" y="209"/>
                    <a:pt x="652" y="207"/>
                  </a:cubicBezTo>
                  <a:cubicBezTo>
                    <a:pt x="651" y="205"/>
                    <a:pt x="650" y="203"/>
                    <a:pt x="649" y="201"/>
                  </a:cubicBezTo>
                  <a:cubicBezTo>
                    <a:pt x="648" y="199"/>
                    <a:pt x="647" y="196"/>
                    <a:pt x="646" y="194"/>
                  </a:cubicBezTo>
                  <a:cubicBezTo>
                    <a:pt x="645" y="192"/>
                    <a:pt x="644" y="191"/>
                    <a:pt x="642" y="189"/>
                  </a:cubicBezTo>
                  <a:cubicBezTo>
                    <a:pt x="641" y="187"/>
                    <a:pt x="641" y="184"/>
                    <a:pt x="639" y="182"/>
                  </a:cubicBezTo>
                  <a:cubicBezTo>
                    <a:pt x="638" y="180"/>
                    <a:pt x="636" y="176"/>
                    <a:pt x="634" y="174"/>
                  </a:cubicBezTo>
                  <a:cubicBezTo>
                    <a:pt x="633" y="172"/>
                    <a:pt x="632" y="170"/>
                    <a:pt x="631" y="168"/>
                  </a:cubicBezTo>
                  <a:cubicBezTo>
                    <a:pt x="630" y="167"/>
                    <a:pt x="630" y="166"/>
                    <a:pt x="629" y="165"/>
                  </a:cubicBezTo>
                  <a:cubicBezTo>
                    <a:pt x="620" y="150"/>
                    <a:pt x="609" y="136"/>
                    <a:pt x="598" y="123"/>
                  </a:cubicBezTo>
                  <a:cubicBezTo>
                    <a:pt x="596" y="121"/>
                    <a:pt x="594" y="120"/>
                    <a:pt x="593" y="118"/>
                  </a:cubicBezTo>
                  <a:cubicBezTo>
                    <a:pt x="591" y="116"/>
                    <a:pt x="589" y="114"/>
                    <a:pt x="588" y="112"/>
                  </a:cubicBezTo>
                  <a:cubicBezTo>
                    <a:pt x="569" y="93"/>
                    <a:pt x="548" y="75"/>
                    <a:pt x="525" y="61"/>
                  </a:cubicBezTo>
                  <a:close/>
                  <a:moveTo>
                    <a:pt x="331" y="0"/>
                  </a:moveTo>
                  <a:cubicBezTo>
                    <a:pt x="360" y="0"/>
                    <a:pt x="360" y="0"/>
                    <a:pt x="360" y="0"/>
                  </a:cubicBezTo>
                  <a:cubicBezTo>
                    <a:pt x="385" y="2"/>
                    <a:pt x="408" y="5"/>
                    <a:pt x="429" y="10"/>
                  </a:cubicBezTo>
                  <a:cubicBezTo>
                    <a:pt x="470" y="20"/>
                    <a:pt x="506" y="37"/>
                    <a:pt x="537" y="58"/>
                  </a:cubicBezTo>
                  <a:cubicBezTo>
                    <a:pt x="540" y="60"/>
                    <a:pt x="543" y="62"/>
                    <a:pt x="546" y="64"/>
                  </a:cubicBezTo>
                  <a:cubicBezTo>
                    <a:pt x="549" y="66"/>
                    <a:pt x="551" y="68"/>
                    <a:pt x="553" y="69"/>
                  </a:cubicBezTo>
                  <a:cubicBezTo>
                    <a:pt x="553" y="70"/>
                    <a:pt x="554" y="70"/>
                    <a:pt x="554" y="70"/>
                  </a:cubicBezTo>
                  <a:cubicBezTo>
                    <a:pt x="554" y="70"/>
                    <a:pt x="555" y="71"/>
                    <a:pt x="555" y="71"/>
                  </a:cubicBezTo>
                  <a:cubicBezTo>
                    <a:pt x="555" y="71"/>
                    <a:pt x="556" y="71"/>
                    <a:pt x="556" y="71"/>
                  </a:cubicBezTo>
                  <a:cubicBezTo>
                    <a:pt x="557" y="72"/>
                    <a:pt x="557" y="72"/>
                    <a:pt x="558" y="73"/>
                  </a:cubicBezTo>
                  <a:cubicBezTo>
                    <a:pt x="560" y="75"/>
                    <a:pt x="562" y="77"/>
                    <a:pt x="565" y="79"/>
                  </a:cubicBezTo>
                  <a:cubicBezTo>
                    <a:pt x="567" y="80"/>
                    <a:pt x="568" y="81"/>
                    <a:pt x="570" y="83"/>
                  </a:cubicBezTo>
                  <a:cubicBezTo>
                    <a:pt x="570" y="83"/>
                    <a:pt x="571" y="84"/>
                    <a:pt x="571" y="84"/>
                  </a:cubicBezTo>
                  <a:cubicBezTo>
                    <a:pt x="571" y="84"/>
                    <a:pt x="572" y="84"/>
                    <a:pt x="572" y="84"/>
                  </a:cubicBezTo>
                  <a:cubicBezTo>
                    <a:pt x="573" y="85"/>
                    <a:pt x="573" y="86"/>
                    <a:pt x="574" y="86"/>
                  </a:cubicBezTo>
                  <a:cubicBezTo>
                    <a:pt x="574" y="87"/>
                    <a:pt x="575" y="87"/>
                    <a:pt x="575" y="87"/>
                  </a:cubicBezTo>
                  <a:cubicBezTo>
                    <a:pt x="577" y="88"/>
                    <a:pt x="578" y="90"/>
                    <a:pt x="579" y="91"/>
                  </a:cubicBezTo>
                  <a:cubicBezTo>
                    <a:pt x="584" y="96"/>
                    <a:pt x="590" y="101"/>
                    <a:pt x="595" y="107"/>
                  </a:cubicBezTo>
                  <a:cubicBezTo>
                    <a:pt x="597" y="108"/>
                    <a:pt x="599" y="110"/>
                    <a:pt x="600" y="112"/>
                  </a:cubicBezTo>
                  <a:cubicBezTo>
                    <a:pt x="601" y="112"/>
                    <a:pt x="601" y="113"/>
                    <a:pt x="601" y="114"/>
                  </a:cubicBezTo>
                  <a:cubicBezTo>
                    <a:pt x="603" y="116"/>
                    <a:pt x="606" y="118"/>
                    <a:pt x="608" y="120"/>
                  </a:cubicBezTo>
                  <a:cubicBezTo>
                    <a:pt x="611" y="124"/>
                    <a:pt x="614" y="127"/>
                    <a:pt x="617" y="131"/>
                  </a:cubicBezTo>
                  <a:cubicBezTo>
                    <a:pt x="642" y="164"/>
                    <a:pt x="663" y="201"/>
                    <a:pt x="677" y="247"/>
                  </a:cubicBezTo>
                  <a:cubicBezTo>
                    <a:pt x="685" y="274"/>
                    <a:pt x="690" y="304"/>
                    <a:pt x="691" y="337"/>
                  </a:cubicBezTo>
                  <a:cubicBezTo>
                    <a:pt x="691" y="355"/>
                    <a:pt x="691" y="355"/>
                    <a:pt x="691" y="355"/>
                  </a:cubicBezTo>
                  <a:cubicBezTo>
                    <a:pt x="689" y="408"/>
                    <a:pt x="677" y="453"/>
                    <a:pt x="659" y="491"/>
                  </a:cubicBezTo>
                  <a:cubicBezTo>
                    <a:pt x="641" y="530"/>
                    <a:pt x="618" y="562"/>
                    <a:pt x="590" y="590"/>
                  </a:cubicBezTo>
                  <a:cubicBezTo>
                    <a:pt x="562" y="618"/>
                    <a:pt x="529" y="642"/>
                    <a:pt x="491" y="659"/>
                  </a:cubicBezTo>
                  <a:cubicBezTo>
                    <a:pt x="452" y="677"/>
                    <a:pt x="408" y="689"/>
                    <a:pt x="355" y="691"/>
                  </a:cubicBezTo>
                  <a:cubicBezTo>
                    <a:pt x="336" y="691"/>
                    <a:pt x="336" y="691"/>
                    <a:pt x="336" y="691"/>
                  </a:cubicBezTo>
                  <a:cubicBezTo>
                    <a:pt x="284" y="689"/>
                    <a:pt x="239" y="678"/>
                    <a:pt x="201" y="660"/>
                  </a:cubicBezTo>
                  <a:cubicBezTo>
                    <a:pt x="176" y="648"/>
                    <a:pt x="154" y="634"/>
                    <a:pt x="133" y="618"/>
                  </a:cubicBezTo>
                  <a:cubicBezTo>
                    <a:pt x="132" y="618"/>
                    <a:pt x="131" y="617"/>
                    <a:pt x="130" y="616"/>
                  </a:cubicBezTo>
                  <a:cubicBezTo>
                    <a:pt x="130" y="616"/>
                    <a:pt x="130" y="616"/>
                    <a:pt x="130" y="616"/>
                  </a:cubicBezTo>
                  <a:cubicBezTo>
                    <a:pt x="128" y="615"/>
                    <a:pt x="126" y="613"/>
                    <a:pt x="124" y="611"/>
                  </a:cubicBezTo>
                  <a:cubicBezTo>
                    <a:pt x="124" y="611"/>
                    <a:pt x="124" y="611"/>
                    <a:pt x="123" y="611"/>
                  </a:cubicBezTo>
                  <a:cubicBezTo>
                    <a:pt x="122" y="610"/>
                    <a:pt x="121" y="609"/>
                    <a:pt x="120" y="608"/>
                  </a:cubicBezTo>
                  <a:cubicBezTo>
                    <a:pt x="116" y="604"/>
                    <a:pt x="112" y="600"/>
                    <a:pt x="108" y="597"/>
                  </a:cubicBezTo>
                  <a:cubicBezTo>
                    <a:pt x="104" y="593"/>
                    <a:pt x="100" y="590"/>
                    <a:pt x="97" y="586"/>
                  </a:cubicBezTo>
                  <a:cubicBezTo>
                    <a:pt x="96" y="585"/>
                    <a:pt x="96" y="584"/>
                    <a:pt x="95" y="583"/>
                  </a:cubicBezTo>
                  <a:cubicBezTo>
                    <a:pt x="94" y="582"/>
                    <a:pt x="93" y="582"/>
                    <a:pt x="92" y="581"/>
                  </a:cubicBezTo>
                  <a:cubicBezTo>
                    <a:pt x="90" y="579"/>
                    <a:pt x="89" y="577"/>
                    <a:pt x="87" y="575"/>
                  </a:cubicBezTo>
                  <a:cubicBezTo>
                    <a:pt x="86" y="574"/>
                    <a:pt x="85" y="573"/>
                    <a:pt x="83" y="571"/>
                  </a:cubicBezTo>
                  <a:cubicBezTo>
                    <a:pt x="82" y="570"/>
                    <a:pt x="80" y="567"/>
                    <a:pt x="79" y="565"/>
                  </a:cubicBezTo>
                  <a:cubicBezTo>
                    <a:pt x="78" y="565"/>
                    <a:pt x="78" y="564"/>
                    <a:pt x="78" y="564"/>
                  </a:cubicBezTo>
                  <a:cubicBezTo>
                    <a:pt x="77" y="563"/>
                    <a:pt x="76" y="562"/>
                    <a:pt x="75" y="561"/>
                  </a:cubicBezTo>
                  <a:cubicBezTo>
                    <a:pt x="75" y="561"/>
                    <a:pt x="75" y="560"/>
                    <a:pt x="75" y="560"/>
                  </a:cubicBezTo>
                  <a:cubicBezTo>
                    <a:pt x="74" y="560"/>
                    <a:pt x="74" y="560"/>
                    <a:pt x="74" y="560"/>
                  </a:cubicBezTo>
                  <a:cubicBezTo>
                    <a:pt x="73" y="559"/>
                    <a:pt x="72" y="557"/>
                    <a:pt x="71" y="556"/>
                  </a:cubicBezTo>
                  <a:cubicBezTo>
                    <a:pt x="71" y="556"/>
                    <a:pt x="70" y="555"/>
                    <a:pt x="70" y="554"/>
                  </a:cubicBezTo>
                  <a:cubicBezTo>
                    <a:pt x="70" y="554"/>
                    <a:pt x="69" y="554"/>
                    <a:pt x="69" y="553"/>
                  </a:cubicBezTo>
                  <a:cubicBezTo>
                    <a:pt x="69" y="553"/>
                    <a:pt x="68" y="552"/>
                    <a:pt x="68" y="551"/>
                  </a:cubicBezTo>
                  <a:cubicBezTo>
                    <a:pt x="67" y="551"/>
                    <a:pt x="67" y="550"/>
                    <a:pt x="67" y="550"/>
                  </a:cubicBezTo>
                  <a:cubicBezTo>
                    <a:pt x="66" y="549"/>
                    <a:pt x="65" y="548"/>
                    <a:pt x="64" y="546"/>
                  </a:cubicBezTo>
                  <a:cubicBezTo>
                    <a:pt x="30" y="498"/>
                    <a:pt x="4" y="438"/>
                    <a:pt x="0" y="360"/>
                  </a:cubicBezTo>
                  <a:cubicBezTo>
                    <a:pt x="0" y="331"/>
                    <a:pt x="0" y="331"/>
                    <a:pt x="0" y="331"/>
                  </a:cubicBezTo>
                  <a:cubicBezTo>
                    <a:pt x="0" y="331"/>
                    <a:pt x="0" y="331"/>
                    <a:pt x="0" y="331"/>
                  </a:cubicBezTo>
                  <a:cubicBezTo>
                    <a:pt x="2" y="289"/>
                    <a:pt x="11" y="251"/>
                    <a:pt x="24" y="220"/>
                  </a:cubicBezTo>
                  <a:cubicBezTo>
                    <a:pt x="24" y="219"/>
                    <a:pt x="24" y="218"/>
                    <a:pt x="24" y="217"/>
                  </a:cubicBezTo>
                  <a:cubicBezTo>
                    <a:pt x="24" y="217"/>
                    <a:pt x="25" y="217"/>
                    <a:pt x="25" y="216"/>
                  </a:cubicBezTo>
                  <a:cubicBezTo>
                    <a:pt x="25" y="216"/>
                    <a:pt x="25" y="216"/>
                    <a:pt x="25" y="215"/>
                  </a:cubicBezTo>
                  <a:cubicBezTo>
                    <a:pt x="25" y="215"/>
                    <a:pt x="26" y="215"/>
                    <a:pt x="26" y="214"/>
                  </a:cubicBezTo>
                  <a:cubicBezTo>
                    <a:pt x="26" y="214"/>
                    <a:pt x="26" y="214"/>
                    <a:pt x="26" y="213"/>
                  </a:cubicBezTo>
                  <a:cubicBezTo>
                    <a:pt x="26" y="213"/>
                    <a:pt x="26" y="213"/>
                    <a:pt x="27" y="213"/>
                  </a:cubicBezTo>
                  <a:cubicBezTo>
                    <a:pt x="28" y="209"/>
                    <a:pt x="30" y="205"/>
                    <a:pt x="31" y="202"/>
                  </a:cubicBezTo>
                  <a:cubicBezTo>
                    <a:pt x="32" y="200"/>
                    <a:pt x="32" y="199"/>
                    <a:pt x="33" y="198"/>
                  </a:cubicBezTo>
                  <a:cubicBezTo>
                    <a:pt x="34" y="196"/>
                    <a:pt x="35" y="193"/>
                    <a:pt x="36" y="191"/>
                  </a:cubicBezTo>
                  <a:cubicBezTo>
                    <a:pt x="37" y="189"/>
                    <a:pt x="39" y="187"/>
                    <a:pt x="40" y="184"/>
                  </a:cubicBezTo>
                  <a:cubicBezTo>
                    <a:pt x="41" y="182"/>
                    <a:pt x="42" y="180"/>
                    <a:pt x="43" y="178"/>
                  </a:cubicBezTo>
                  <a:cubicBezTo>
                    <a:pt x="50" y="166"/>
                    <a:pt x="56" y="156"/>
                    <a:pt x="63" y="146"/>
                  </a:cubicBezTo>
                  <a:cubicBezTo>
                    <a:pt x="87" y="113"/>
                    <a:pt x="114" y="86"/>
                    <a:pt x="146" y="63"/>
                  </a:cubicBezTo>
                  <a:cubicBezTo>
                    <a:pt x="162" y="52"/>
                    <a:pt x="180" y="42"/>
                    <a:pt x="198" y="33"/>
                  </a:cubicBezTo>
                  <a:cubicBezTo>
                    <a:pt x="236" y="15"/>
                    <a:pt x="280" y="3"/>
                    <a:pt x="331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77" name="ïṡ1îḍê"/>
            <p:cNvSpPr/>
            <p:nvPr/>
          </p:nvSpPr>
          <p:spPr bwMode="auto">
            <a:xfrm>
              <a:off x="2255838" y="2562225"/>
              <a:ext cx="1731963" cy="1731963"/>
            </a:xfrm>
            <a:custGeom>
              <a:avLst/>
              <a:gdLst>
                <a:gd name="T0" fmla="*/ 340 w 651"/>
                <a:gd name="T1" fmla="*/ 604 h 649"/>
                <a:gd name="T2" fmla="*/ 224 w 651"/>
                <a:gd name="T3" fmla="*/ 580 h 649"/>
                <a:gd name="T4" fmla="*/ 292 w 651"/>
                <a:gd name="T5" fmla="*/ 580 h 649"/>
                <a:gd name="T6" fmla="*/ 422 w 651"/>
                <a:gd name="T7" fmla="*/ 593 h 649"/>
                <a:gd name="T8" fmla="*/ 231 w 651"/>
                <a:gd name="T9" fmla="*/ 570 h 649"/>
                <a:gd name="T10" fmla="*/ 221 w 651"/>
                <a:gd name="T11" fmla="*/ 582 h 649"/>
                <a:gd name="T12" fmla="*/ 216 w 651"/>
                <a:gd name="T13" fmla="*/ 615 h 649"/>
                <a:gd name="T14" fmla="*/ 199 w 651"/>
                <a:gd name="T15" fmla="*/ 556 h 649"/>
                <a:gd name="T16" fmla="*/ 483 w 651"/>
                <a:gd name="T17" fmla="*/ 550 h 649"/>
                <a:gd name="T18" fmla="*/ 132 w 651"/>
                <a:gd name="T19" fmla="*/ 567 h 649"/>
                <a:gd name="T20" fmla="*/ 485 w 651"/>
                <a:gd name="T21" fmla="*/ 522 h 649"/>
                <a:gd name="T22" fmla="*/ 475 w 651"/>
                <a:gd name="T23" fmla="*/ 537 h 649"/>
                <a:gd name="T24" fmla="*/ 482 w 651"/>
                <a:gd name="T25" fmla="*/ 552 h 649"/>
                <a:gd name="T26" fmla="*/ 265 w 651"/>
                <a:gd name="T27" fmla="*/ 425 h 649"/>
                <a:gd name="T28" fmla="*/ 50 w 651"/>
                <a:gd name="T29" fmla="*/ 422 h 649"/>
                <a:gd name="T30" fmla="*/ 571 w 651"/>
                <a:gd name="T31" fmla="*/ 400 h 649"/>
                <a:gd name="T32" fmla="*/ 418 w 651"/>
                <a:gd name="T33" fmla="*/ 369 h 649"/>
                <a:gd name="T34" fmla="*/ 47 w 651"/>
                <a:gd name="T35" fmla="*/ 383 h 649"/>
                <a:gd name="T36" fmla="*/ 615 w 651"/>
                <a:gd name="T37" fmla="*/ 381 h 649"/>
                <a:gd name="T38" fmla="*/ 300 w 651"/>
                <a:gd name="T39" fmla="*/ 318 h 649"/>
                <a:gd name="T40" fmla="*/ 65 w 651"/>
                <a:gd name="T41" fmla="*/ 303 h 649"/>
                <a:gd name="T42" fmla="*/ 423 w 651"/>
                <a:gd name="T43" fmla="*/ 258 h 649"/>
                <a:gd name="T44" fmla="*/ 281 w 651"/>
                <a:gd name="T45" fmla="*/ 242 h 649"/>
                <a:gd name="T46" fmla="*/ 264 w 651"/>
                <a:gd name="T47" fmla="*/ 231 h 649"/>
                <a:gd name="T48" fmla="*/ 305 w 651"/>
                <a:gd name="T49" fmla="*/ 207 h 649"/>
                <a:gd name="T50" fmla="*/ 191 w 651"/>
                <a:gd name="T51" fmla="*/ 283 h 649"/>
                <a:gd name="T52" fmla="*/ 231 w 651"/>
                <a:gd name="T53" fmla="*/ 223 h 649"/>
                <a:gd name="T54" fmla="*/ 273 w 651"/>
                <a:gd name="T55" fmla="*/ 311 h 649"/>
                <a:gd name="T56" fmla="*/ 439 w 651"/>
                <a:gd name="T57" fmla="*/ 194 h 649"/>
                <a:gd name="T58" fmla="*/ 60 w 651"/>
                <a:gd name="T59" fmla="*/ 185 h 649"/>
                <a:gd name="T60" fmla="*/ 404 w 651"/>
                <a:gd name="T61" fmla="*/ 183 h 649"/>
                <a:gd name="T62" fmla="*/ 285 w 651"/>
                <a:gd name="T63" fmla="*/ 167 h 649"/>
                <a:gd name="T64" fmla="*/ 87 w 651"/>
                <a:gd name="T65" fmla="*/ 176 h 649"/>
                <a:gd name="T66" fmla="*/ 246 w 651"/>
                <a:gd name="T67" fmla="*/ 146 h 649"/>
                <a:gd name="T68" fmla="*/ 266 w 651"/>
                <a:gd name="T69" fmla="*/ 144 h 649"/>
                <a:gd name="T70" fmla="*/ 283 w 651"/>
                <a:gd name="T71" fmla="*/ 124 h 649"/>
                <a:gd name="T72" fmla="*/ 544 w 651"/>
                <a:gd name="T73" fmla="*/ 124 h 649"/>
                <a:gd name="T74" fmla="*/ 483 w 651"/>
                <a:gd name="T75" fmla="*/ 183 h 649"/>
                <a:gd name="T76" fmla="*/ 385 w 651"/>
                <a:gd name="T77" fmla="*/ 178 h 649"/>
                <a:gd name="T78" fmla="*/ 240 w 651"/>
                <a:gd name="T79" fmla="*/ 135 h 649"/>
                <a:gd name="T80" fmla="*/ 273 w 651"/>
                <a:gd name="T81" fmla="*/ 339 h 649"/>
                <a:gd name="T82" fmla="*/ 88 w 651"/>
                <a:gd name="T83" fmla="*/ 297 h 649"/>
                <a:gd name="T84" fmla="*/ 474 w 651"/>
                <a:gd name="T85" fmla="*/ 140 h 649"/>
                <a:gd name="T86" fmla="*/ 511 w 651"/>
                <a:gd name="T87" fmla="*/ 473 h 649"/>
                <a:gd name="T88" fmla="*/ 432 w 651"/>
                <a:gd name="T89" fmla="*/ 410 h 649"/>
                <a:gd name="T90" fmla="*/ 486 w 651"/>
                <a:gd name="T91" fmla="*/ 240 h 649"/>
                <a:gd name="T92" fmla="*/ 438 w 651"/>
                <a:gd name="T93" fmla="*/ 271 h 649"/>
                <a:gd name="T94" fmla="*/ 376 w 651"/>
                <a:gd name="T95" fmla="*/ 285 h 649"/>
                <a:gd name="T96" fmla="*/ 286 w 651"/>
                <a:gd name="T97" fmla="*/ 219 h 649"/>
                <a:gd name="T98" fmla="*/ 327 w 651"/>
                <a:gd name="T99" fmla="*/ 221 h 649"/>
                <a:gd name="T100" fmla="*/ 406 w 651"/>
                <a:gd name="T101" fmla="*/ 201 h 649"/>
                <a:gd name="T102" fmla="*/ 501 w 651"/>
                <a:gd name="T103" fmla="*/ 86 h 649"/>
                <a:gd name="T104" fmla="*/ 178 w 651"/>
                <a:gd name="T105" fmla="*/ 110 h 649"/>
                <a:gd name="T106" fmla="*/ 195 w 651"/>
                <a:gd name="T107" fmla="*/ 99 h 649"/>
                <a:gd name="T108" fmla="*/ 248 w 651"/>
                <a:gd name="T109" fmla="*/ 53 h 649"/>
                <a:gd name="T110" fmla="*/ 416 w 651"/>
                <a:gd name="T111" fmla="*/ 69 h 649"/>
                <a:gd name="T112" fmla="*/ 281 w 651"/>
                <a:gd name="T113" fmla="*/ 36 h 649"/>
                <a:gd name="T114" fmla="*/ 627 w 651"/>
                <a:gd name="T115" fmla="*/ 207 h 649"/>
                <a:gd name="T116" fmla="*/ 517 w 651"/>
                <a:gd name="T117" fmla="*/ 585 h 649"/>
                <a:gd name="T118" fmla="*/ 147 w 651"/>
                <a:gd name="T119" fmla="*/ 594 h 649"/>
                <a:gd name="T120" fmla="*/ 79 w 651"/>
                <a:gd name="T121" fmla="*/ 533 h 649"/>
                <a:gd name="T122" fmla="*/ 230 w 651"/>
                <a:gd name="T123" fmla="*/ 15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1" h="649">
                  <a:moveTo>
                    <a:pt x="300" y="606"/>
                  </a:moveTo>
                  <a:cubicBezTo>
                    <a:pt x="298" y="609"/>
                    <a:pt x="292" y="606"/>
                    <a:pt x="290" y="607"/>
                  </a:cubicBezTo>
                  <a:cubicBezTo>
                    <a:pt x="291" y="608"/>
                    <a:pt x="292" y="608"/>
                    <a:pt x="292" y="609"/>
                  </a:cubicBezTo>
                  <a:cubicBezTo>
                    <a:pt x="293" y="610"/>
                    <a:pt x="294" y="611"/>
                    <a:pt x="294" y="612"/>
                  </a:cubicBezTo>
                  <a:cubicBezTo>
                    <a:pt x="293" y="614"/>
                    <a:pt x="290" y="617"/>
                    <a:pt x="287" y="616"/>
                  </a:cubicBezTo>
                  <a:cubicBezTo>
                    <a:pt x="286" y="617"/>
                    <a:pt x="286" y="619"/>
                    <a:pt x="285" y="619"/>
                  </a:cubicBezTo>
                  <a:cubicBezTo>
                    <a:pt x="284" y="616"/>
                    <a:pt x="282" y="614"/>
                    <a:pt x="283" y="610"/>
                  </a:cubicBezTo>
                  <a:cubicBezTo>
                    <a:pt x="281" y="608"/>
                    <a:pt x="280" y="606"/>
                    <a:pt x="277" y="606"/>
                  </a:cubicBezTo>
                  <a:cubicBezTo>
                    <a:pt x="278" y="609"/>
                    <a:pt x="280" y="610"/>
                    <a:pt x="281" y="612"/>
                  </a:cubicBezTo>
                  <a:cubicBezTo>
                    <a:pt x="282" y="614"/>
                    <a:pt x="283" y="617"/>
                    <a:pt x="283" y="620"/>
                  </a:cubicBezTo>
                  <a:cubicBezTo>
                    <a:pt x="284" y="621"/>
                    <a:pt x="285" y="621"/>
                    <a:pt x="285" y="622"/>
                  </a:cubicBezTo>
                  <a:cubicBezTo>
                    <a:pt x="286" y="623"/>
                    <a:pt x="286" y="624"/>
                    <a:pt x="286" y="625"/>
                  </a:cubicBezTo>
                  <a:cubicBezTo>
                    <a:pt x="287" y="625"/>
                    <a:pt x="287" y="625"/>
                    <a:pt x="287" y="626"/>
                  </a:cubicBezTo>
                  <a:cubicBezTo>
                    <a:pt x="290" y="624"/>
                    <a:pt x="293" y="626"/>
                    <a:pt x="295" y="625"/>
                  </a:cubicBezTo>
                  <a:cubicBezTo>
                    <a:pt x="296" y="625"/>
                    <a:pt x="296" y="624"/>
                    <a:pt x="296" y="622"/>
                  </a:cubicBezTo>
                  <a:cubicBezTo>
                    <a:pt x="298" y="618"/>
                    <a:pt x="302" y="617"/>
                    <a:pt x="307" y="616"/>
                  </a:cubicBezTo>
                  <a:cubicBezTo>
                    <a:pt x="308" y="610"/>
                    <a:pt x="303" y="608"/>
                    <a:pt x="300" y="606"/>
                  </a:cubicBezTo>
                  <a:close/>
                  <a:moveTo>
                    <a:pt x="339" y="608"/>
                  </a:moveTo>
                  <a:cubicBezTo>
                    <a:pt x="340" y="612"/>
                    <a:pt x="340" y="617"/>
                    <a:pt x="341" y="621"/>
                  </a:cubicBezTo>
                  <a:cubicBezTo>
                    <a:pt x="343" y="624"/>
                    <a:pt x="344" y="628"/>
                    <a:pt x="348" y="629"/>
                  </a:cubicBezTo>
                  <a:cubicBezTo>
                    <a:pt x="349" y="628"/>
                    <a:pt x="349" y="626"/>
                    <a:pt x="349" y="625"/>
                  </a:cubicBezTo>
                  <a:cubicBezTo>
                    <a:pt x="348" y="623"/>
                    <a:pt x="346" y="621"/>
                    <a:pt x="347" y="619"/>
                  </a:cubicBezTo>
                  <a:cubicBezTo>
                    <a:pt x="346" y="618"/>
                    <a:pt x="345" y="619"/>
                    <a:pt x="345" y="618"/>
                  </a:cubicBezTo>
                  <a:cubicBezTo>
                    <a:pt x="346" y="617"/>
                    <a:pt x="345" y="617"/>
                    <a:pt x="345" y="615"/>
                  </a:cubicBezTo>
                  <a:cubicBezTo>
                    <a:pt x="343" y="613"/>
                    <a:pt x="341" y="610"/>
                    <a:pt x="340" y="606"/>
                  </a:cubicBezTo>
                  <a:cubicBezTo>
                    <a:pt x="341" y="606"/>
                    <a:pt x="341" y="604"/>
                    <a:pt x="340" y="604"/>
                  </a:cubicBezTo>
                  <a:cubicBezTo>
                    <a:pt x="340" y="605"/>
                    <a:pt x="340" y="606"/>
                    <a:pt x="339" y="608"/>
                  </a:cubicBezTo>
                  <a:close/>
                  <a:moveTo>
                    <a:pt x="452" y="591"/>
                  </a:moveTo>
                  <a:cubicBezTo>
                    <a:pt x="451" y="591"/>
                    <a:pt x="449" y="590"/>
                    <a:pt x="447" y="590"/>
                  </a:cubicBezTo>
                  <a:cubicBezTo>
                    <a:pt x="446" y="590"/>
                    <a:pt x="445" y="590"/>
                    <a:pt x="444" y="590"/>
                  </a:cubicBezTo>
                  <a:cubicBezTo>
                    <a:pt x="444" y="593"/>
                    <a:pt x="446" y="595"/>
                    <a:pt x="446" y="598"/>
                  </a:cubicBezTo>
                  <a:cubicBezTo>
                    <a:pt x="447" y="599"/>
                    <a:pt x="450" y="600"/>
                    <a:pt x="452" y="600"/>
                  </a:cubicBezTo>
                  <a:cubicBezTo>
                    <a:pt x="453" y="600"/>
                    <a:pt x="455" y="599"/>
                    <a:pt x="456" y="598"/>
                  </a:cubicBezTo>
                  <a:cubicBezTo>
                    <a:pt x="456" y="597"/>
                    <a:pt x="457" y="595"/>
                    <a:pt x="457" y="593"/>
                  </a:cubicBezTo>
                  <a:cubicBezTo>
                    <a:pt x="455" y="592"/>
                    <a:pt x="454" y="592"/>
                    <a:pt x="452" y="591"/>
                  </a:cubicBezTo>
                  <a:close/>
                  <a:moveTo>
                    <a:pt x="343" y="596"/>
                  </a:moveTo>
                  <a:cubicBezTo>
                    <a:pt x="345" y="595"/>
                    <a:pt x="346" y="597"/>
                    <a:pt x="348" y="596"/>
                  </a:cubicBezTo>
                  <a:cubicBezTo>
                    <a:pt x="349" y="593"/>
                    <a:pt x="346" y="590"/>
                    <a:pt x="345" y="587"/>
                  </a:cubicBezTo>
                  <a:cubicBezTo>
                    <a:pt x="344" y="587"/>
                    <a:pt x="344" y="587"/>
                    <a:pt x="344" y="587"/>
                  </a:cubicBezTo>
                  <a:cubicBezTo>
                    <a:pt x="344" y="589"/>
                    <a:pt x="344" y="593"/>
                    <a:pt x="343" y="596"/>
                  </a:cubicBezTo>
                  <a:close/>
                  <a:moveTo>
                    <a:pt x="220" y="585"/>
                  </a:moveTo>
                  <a:cubicBezTo>
                    <a:pt x="220" y="585"/>
                    <a:pt x="219" y="585"/>
                    <a:pt x="219" y="585"/>
                  </a:cubicBezTo>
                  <a:cubicBezTo>
                    <a:pt x="219" y="585"/>
                    <a:pt x="220" y="585"/>
                    <a:pt x="220" y="585"/>
                  </a:cubicBezTo>
                  <a:close/>
                  <a:moveTo>
                    <a:pt x="195" y="584"/>
                  </a:moveTo>
                  <a:cubicBezTo>
                    <a:pt x="195" y="583"/>
                    <a:pt x="194" y="584"/>
                    <a:pt x="195" y="584"/>
                  </a:cubicBezTo>
                  <a:cubicBezTo>
                    <a:pt x="195" y="584"/>
                    <a:pt x="195" y="584"/>
                    <a:pt x="195" y="584"/>
                  </a:cubicBezTo>
                  <a:close/>
                  <a:moveTo>
                    <a:pt x="225" y="582"/>
                  </a:moveTo>
                  <a:cubicBezTo>
                    <a:pt x="225" y="582"/>
                    <a:pt x="224" y="581"/>
                    <a:pt x="224" y="582"/>
                  </a:cubicBezTo>
                  <a:cubicBezTo>
                    <a:pt x="224" y="582"/>
                    <a:pt x="225" y="583"/>
                    <a:pt x="225" y="582"/>
                  </a:cubicBezTo>
                  <a:close/>
                  <a:moveTo>
                    <a:pt x="224" y="580"/>
                  </a:moveTo>
                  <a:cubicBezTo>
                    <a:pt x="224" y="580"/>
                    <a:pt x="224" y="580"/>
                    <a:pt x="224" y="580"/>
                  </a:cubicBezTo>
                  <a:cubicBezTo>
                    <a:pt x="224" y="580"/>
                    <a:pt x="224" y="581"/>
                    <a:pt x="224" y="580"/>
                  </a:cubicBezTo>
                  <a:close/>
                  <a:moveTo>
                    <a:pt x="495" y="579"/>
                  </a:moveTo>
                  <a:cubicBezTo>
                    <a:pt x="495" y="579"/>
                    <a:pt x="495" y="579"/>
                    <a:pt x="495" y="579"/>
                  </a:cubicBezTo>
                  <a:cubicBezTo>
                    <a:pt x="495" y="579"/>
                    <a:pt x="496" y="579"/>
                    <a:pt x="495" y="579"/>
                  </a:cubicBezTo>
                  <a:close/>
                  <a:moveTo>
                    <a:pt x="367" y="592"/>
                  </a:moveTo>
                  <a:cubicBezTo>
                    <a:pt x="366" y="587"/>
                    <a:pt x="365" y="582"/>
                    <a:pt x="365" y="577"/>
                  </a:cubicBezTo>
                  <a:cubicBezTo>
                    <a:pt x="365" y="578"/>
                    <a:pt x="367" y="578"/>
                    <a:pt x="368" y="578"/>
                  </a:cubicBezTo>
                  <a:cubicBezTo>
                    <a:pt x="371" y="581"/>
                    <a:pt x="371" y="587"/>
                    <a:pt x="372" y="592"/>
                  </a:cubicBezTo>
                  <a:cubicBezTo>
                    <a:pt x="376" y="593"/>
                    <a:pt x="382" y="592"/>
                    <a:pt x="386" y="593"/>
                  </a:cubicBezTo>
                  <a:cubicBezTo>
                    <a:pt x="388" y="595"/>
                    <a:pt x="390" y="596"/>
                    <a:pt x="390" y="598"/>
                  </a:cubicBezTo>
                  <a:cubicBezTo>
                    <a:pt x="390" y="600"/>
                    <a:pt x="388" y="602"/>
                    <a:pt x="386" y="603"/>
                  </a:cubicBezTo>
                  <a:cubicBezTo>
                    <a:pt x="386" y="608"/>
                    <a:pt x="383" y="609"/>
                    <a:pt x="381" y="612"/>
                  </a:cubicBezTo>
                  <a:cubicBezTo>
                    <a:pt x="382" y="615"/>
                    <a:pt x="384" y="616"/>
                    <a:pt x="384" y="619"/>
                  </a:cubicBezTo>
                  <a:cubicBezTo>
                    <a:pt x="381" y="620"/>
                    <a:pt x="378" y="622"/>
                    <a:pt x="373" y="621"/>
                  </a:cubicBezTo>
                  <a:cubicBezTo>
                    <a:pt x="372" y="621"/>
                    <a:pt x="371" y="622"/>
                    <a:pt x="371" y="623"/>
                  </a:cubicBezTo>
                  <a:cubicBezTo>
                    <a:pt x="369" y="623"/>
                    <a:pt x="368" y="624"/>
                    <a:pt x="366" y="623"/>
                  </a:cubicBezTo>
                  <a:cubicBezTo>
                    <a:pt x="365" y="622"/>
                    <a:pt x="363" y="621"/>
                    <a:pt x="362" y="620"/>
                  </a:cubicBezTo>
                  <a:cubicBezTo>
                    <a:pt x="359" y="619"/>
                    <a:pt x="357" y="618"/>
                    <a:pt x="356" y="617"/>
                  </a:cubicBezTo>
                  <a:cubicBezTo>
                    <a:pt x="355" y="615"/>
                    <a:pt x="353" y="614"/>
                    <a:pt x="352" y="612"/>
                  </a:cubicBezTo>
                  <a:cubicBezTo>
                    <a:pt x="352" y="611"/>
                    <a:pt x="349" y="611"/>
                    <a:pt x="350" y="609"/>
                  </a:cubicBezTo>
                  <a:cubicBezTo>
                    <a:pt x="349" y="607"/>
                    <a:pt x="351" y="606"/>
                    <a:pt x="352" y="604"/>
                  </a:cubicBezTo>
                  <a:cubicBezTo>
                    <a:pt x="353" y="603"/>
                    <a:pt x="354" y="602"/>
                    <a:pt x="356" y="601"/>
                  </a:cubicBezTo>
                  <a:cubicBezTo>
                    <a:pt x="358" y="599"/>
                    <a:pt x="361" y="597"/>
                    <a:pt x="362" y="595"/>
                  </a:cubicBezTo>
                  <a:cubicBezTo>
                    <a:pt x="364" y="594"/>
                    <a:pt x="366" y="593"/>
                    <a:pt x="367" y="592"/>
                  </a:cubicBezTo>
                  <a:close/>
                  <a:moveTo>
                    <a:pt x="292" y="584"/>
                  </a:moveTo>
                  <a:cubicBezTo>
                    <a:pt x="290" y="582"/>
                    <a:pt x="287" y="581"/>
                    <a:pt x="286" y="577"/>
                  </a:cubicBezTo>
                  <a:cubicBezTo>
                    <a:pt x="288" y="578"/>
                    <a:pt x="290" y="580"/>
                    <a:pt x="292" y="580"/>
                  </a:cubicBezTo>
                  <a:cubicBezTo>
                    <a:pt x="296" y="580"/>
                    <a:pt x="299" y="578"/>
                    <a:pt x="302" y="577"/>
                  </a:cubicBezTo>
                  <a:cubicBezTo>
                    <a:pt x="304" y="579"/>
                    <a:pt x="306" y="582"/>
                    <a:pt x="305" y="585"/>
                  </a:cubicBezTo>
                  <a:cubicBezTo>
                    <a:pt x="302" y="585"/>
                    <a:pt x="301" y="586"/>
                    <a:pt x="299" y="585"/>
                  </a:cubicBezTo>
                  <a:cubicBezTo>
                    <a:pt x="295" y="589"/>
                    <a:pt x="291" y="592"/>
                    <a:pt x="286" y="595"/>
                  </a:cubicBezTo>
                  <a:cubicBezTo>
                    <a:pt x="286" y="595"/>
                    <a:pt x="285" y="595"/>
                    <a:pt x="284" y="596"/>
                  </a:cubicBezTo>
                  <a:cubicBezTo>
                    <a:pt x="283" y="597"/>
                    <a:pt x="281" y="598"/>
                    <a:pt x="279" y="600"/>
                  </a:cubicBezTo>
                  <a:cubicBezTo>
                    <a:pt x="279" y="600"/>
                    <a:pt x="279" y="600"/>
                    <a:pt x="279" y="600"/>
                  </a:cubicBezTo>
                  <a:cubicBezTo>
                    <a:pt x="277" y="601"/>
                    <a:pt x="275" y="603"/>
                    <a:pt x="273" y="604"/>
                  </a:cubicBezTo>
                  <a:cubicBezTo>
                    <a:pt x="272" y="606"/>
                    <a:pt x="271" y="606"/>
                    <a:pt x="269" y="607"/>
                  </a:cubicBezTo>
                  <a:cubicBezTo>
                    <a:pt x="269" y="608"/>
                    <a:pt x="269" y="608"/>
                    <a:pt x="269" y="608"/>
                  </a:cubicBezTo>
                  <a:cubicBezTo>
                    <a:pt x="267" y="609"/>
                    <a:pt x="265" y="611"/>
                    <a:pt x="263" y="612"/>
                  </a:cubicBezTo>
                  <a:cubicBezTo>
                    <a:pt x="261" y="613"/>
                    <a:pt x="259" y="613"/>
                    <a:pt x="257" y="615"/>
                  </a:cubicBezTo>
                  <a:cubicBezTo>
                    <a:pt x="254" y="615"/>
                    <a:pt x="253" y="614"/>
                    <a:pt x="251" y="613"/>
                  </a:cubicBezTo>
                  <a:cubicBezTo>
                    <a:pt x="251" y="612"/>
                    <a:pt x="253" y="612"/>
                    <a:pt x="254" y="612"/>
                  </a:cubicBezTo>
                  <a:cubicBezTo>
                    <a:pt x="255" y="610"/>
                    <a:pt x="258" y="610"/>
                    <a:pt x="259" y="609"/>
                  </a:cubicBezTo>
                  <a:cubicBezTo>
                    <a:pt x="264" y="606"/>
                    <a:pt x="270" y="603"/>
                    <a:pt x="274" y="599"/>
                  </a:cubicBezTo>
                  <a:cubicBezTo>
                    <a:pt x="276" y="598"/>
                    <a:pt x="277" y="597"/>
                    <a:pt x="279" y="595"/>
                  </a:cubicBezTo>
                  <a:cubicBezTo>
                    <a:pt x="283" y="592"/>
                    <a:pt x="288" y="588"/>
                    <a:pt x="292" y="584"/>
                  </a:cubicBezTo>
                  <a:close/>
                  <a:moveTo>
                    <a:pt x="417" y="564"/>
                  </a:moveTo>
                  <a:cubicBezTo>
                    <a:pt x="417" y="564"/>
                    <a:pt x="418" y="566"/>
                    <a:pt x="418" y="567"/>
                  </a:cubicBezTo>
                  <a:cubicBezTo>
                    <a:pt x="418" y="568"/>
                    <a:pt x="419" y="569"/>
                    <a:pt x="419" y="570"/>
                  </a:cubicBezTo>
                  <a:cubicBezTo>
                    <a:pt x="421" y="570"/>
                    <a:pt x="421" y="571"/>
                    <a:pt x="422" y="572"/>
                  </a:cubicBezTo>
                  <a:cubicBezTo>
                    <a:pt x="422" y="573"/>
                    <a:pt x="421" y="573"/>
                    <a:pt x="421" y="574"/>
                  </a:cubicBezTo>
                  <a:cubicBezTo>
                    <a:pt x="422" y="575"/>
                    <a:pt x="422" y="579"/>
                    <a:pt x="424" y="582"/>
                  </a:cubicBezTo>
                  <a:cubicBezTo>
                    <a:pt x="424" y="588"/>
                    <a:pt x="421" y="591"/>
                    <a:pt x="416" y="592"/>
                  </a:cubicBezTo>
                  <a:cubicBezTo>
                    <a:pt x="417" y="594"/>
                    <a:pt x="420" y="594"/>
                    <a:pt x="422" y="593"/>
                  </a:cubicBezTo>
                  <a:cubicBezTo>
                    <a:pt x="423" y="594"/>
                    <a:pt x="423" y="594"/>
                    <a:pt x="424" y="594"/>
                  </a:cubicBezTo>
                  <a:cubicBezTo>
                    <a:pt x="424" y="596"/>
                    <a:pt x="425" y="596"/>
                    <a:pt x="426" y="598"/>
                  </a:cubicBezTo>
                  <a:cubicBezTo>
                    <a:pt x="425" y="599"/>
                    <a:pt x="425" y="600"/>
                    <a:pt x="425" y="601"/>
                  </a:cubicBezTo>
                  <a:cubicBezTo>
                    <a:pt x="424" y="601"/>
                    <a:pt x="423" y="601"/>
                    <a:pt x="423" y="602"/>
                  </a:cubicBezTo>
                  <a:cubicBezTo>
                    <a:pt x="423" y="613"/>
                    <a:pt x="423" y="613"/>
                    <a:pt x="423" y="613"/>
                  </a:cubicBezTo>
                  <a:cubicBezTo>
                    <a:pt x="425" y="613"/>
                    <a:pt x="425" y="611"/>
                    <a:pt x="426" y="610"/>
                  </a:cubicBezTo>
                  <a:cubicBezTo>
                    <a:pt x="427" y="609"/>
                    <a:pt x="428" y="608"/>
                    <a:pt x="428" y="607"/>
                  </a:cubicBezTo>
                  <a:cubicBezTo>
                    <a:pt x="430" y="607"/>
                    <a:pt x="431" y="606"/>
                    <a:pt x="432" y="605"/>
                  </a:cubicBezTo>
                  <a:cubicBezTo>
                    <a:pt x="432" y="603"/>
                    <a:pt x="432" y="601"/>
                    <a:pt x="433" y="600"/>
                  </a:cubicBezTo>
                  <a:cubicBezTo>
                    <a:pt x="433" y="598"/>
                    <a:pt x="435" y="598"/>
                    <a:pt x="435" y="596"/>
                  </a:cubicBezTo>
                  <a:cubicBezTo>
                    <a:pt x="434" y="594"/>
                    <a:pt x="433" y="593"/>
                    <a:pt x="433" y="590"/>
                  </a:cubicBezTo>
                  <a:cubicBezTo>
                    <a:pt x="433" y="588"/>
                    <a:pt x="435" y="586"/>
                    <a:pt x="435" y="584"/>
                  </a:cubicBezTo>
                  <a:cubicBezTo>
                    <a:pt x="435" y="583"/>
                    <a:pt x="435" y="582"/>
                    <a:pt x="435" y="580"/>
                  </a:cubicBezTo>
                  <a:cubicBezTo>
                    <a:pt x="436" y="580"/>
                    <a:pt x="436" y="579"/>
                    <a:pt x="436" y="579"/>
                  </a:cubicBezTo>
                  <a:cubicBezTo>
                    <a:pt x="436" y="578"/>
                    <a:pt x="437" y="578"/>
                    <a:pt x="437" y="576"/>
                  </a:cubicBezTo>
                  <a:cubicBezTo>
                    <a:pt x="437" y="576"/>
                    <a:pt x="438" y="575"/>
                    <a:pt x="438" y="575"/>
                  </a:cubicBezTo>
                  <a:cubicBezTo>
                    <a:pt x="438" y="574"/>
                    <a:pt x="437" y="573"/>
                    <a:pt x="437" y="572"/>
                  </a:cubicBezTo>
                  <a:cubicBezTo>
                    <a:pt x="437" y="571"/>
                    <a:pt x="437" y="571"/>
                    <a:pt x="435" y="571"/>
                  </a:cubicBezTo>
                  <a:cubicBezTo>
                    <a:pt x="436" y="569"/>
                    <a:pt x="434" y="569"/>
                    <a:pt x="434" y="569"/>
                  </a:cubicBezTo>
                  <a:cubicBezTo>
                    <a:pt x="432" y="569"/>
                    <a:pt x="430" y="568"/>
                    <a:pt x="428" y="568"/>
                  </a:cubicBezTo>
                  <a:cubicBezTo>
                    <a:pt x="428" y="566"/>
                    <a:pt x="427" y="564"/>
                    <a:pt x="426" y="563"/>
                  </a:cubicBezTo>
                  <a:cubicBezTo>
                    <a:pt x="422" y="563"/>
                    <a:pt x="419" y="563"/>
                    <a:pt x="416" y="563"/>
                  </a:cubicBezTo>
                  <a:cubicBezTo>
                    <a:pt x="416" y="564"/>
                    <a:pt x="417" y="564"/>
                    <a:pt x="417" y="564"/>
                  </a:cubicBezTo>
                  <a:close/>
                  <a:moveTo>
                    <a:pt x="225" y="563"/>
                  </a:moveTo>
                  <a:cubicBezTo>
                    <a:pt x="226" y="565"/>
                    <a:pt x="226" y="568"/>
                    <a:pt x="228" y="570"/>
                  </a:cubicBezTo>
                  <a:cubicBezTo>
                    <a:pt x="229" y="570"/>
                    <a:pt x="229" y="570"/>
                    <a:pt x="231" y="570"/>
                  </a:cubicBezTo>
                  <a:cubicBezTo>
                    <a:pt x="233" y="567"/>
                    <a:pt x="230" y="562"/>
                    <a:pt x="226" y="561"/>
                  </a:cubicBezTo>
                  <a:cubicBezTo>
                    <a:pt x="226" y="562"/>
                    <a:pt x="225" y="562"/>
                    <a:pt x="225" y="563"/>
                  </a:cubicBezTo>
                  <a:close/>
                  <a:moveTo>
                    <a:pt x="195" y="585"/>
                  </a:moveTo>
                  <a:cubicBezTo>
                    <a:pt x="197" y="585"/>
                    <a:pt x="197" y="586"/>
                    <a:pt x="198" y="586"/>
                  </a:cubicBezTo>
                  <a:cubicBezTo>
                    <a:pt x="206" y="586"/>
                    <a:pt x="212" y="584"/>
                    <a:pt x="217" y="581"/>
                  </a:cubicBezTo>
                  <a:cubicBezTo>
                    <a:pt x="217" y="580"/>
                    <a:pt x="216" y="579"/>
                    <a:pt x="216" y="578"/>
                  </a:cubicBezTo>
                  <a:cubicBezTo>
                    <a:pt x="212" y="580"/>
                    <a:pt x="205" y="582"/>
                    <a:pt x="199" y="582"/>
                  </a:cubicBezTo>
                  <a:cubicBezTo>
                    <a:pt x="197" y="582"/>
                    <a:pt x="194" y="582"/>
                    <a:pt x="191" y="581"/>
                  </a:cubicBezTo>
                  <a:cubicBezTo>
                    <a:pt x="191" y="580"/>
                    <a:pt x="192" y="580"/>
                    <a:pt x="192" y="578"/>
                  </a:cubicBezTo>
                  <a:cubicBezTo>
                    <a:pt x="197" y="577"/>
                    <a:pt x="204" y="576"/>
                    <a:pt x="208" y="574"/>
                  </a:cubicBezTo>
                  <a:cubicBezTo>
                    <a:pt x="210" y="573"/>
                    <a:pt x="212" y="573"/>
                    <a:pt x="211" y="571"/>
                  </a:cubicBezTo>
                  <a:cubicBezTo>
                    <a:pt x="211" y="570"/>
                    <a:pt x="209" y="571"/>
                    <a:pt x="208" y="571"/>
                  </a:cubicBezTo>
                  <a:cubicBezTo>
                    <a:pt x="205" y="571"/>
                    <a:pt x="203" y="572"/>
                    <a:pt x="200" y="572"/>
                  </a:cubicBezTo>
                  <a:cubicBezTo>
                    <a:pt x="199" y="570"/>
                    <a:pt x="200" y="567"/>
                    <a:pt x="201" y="566"/>
                  </a:cubicBezTo>
                  <a:cubicBezTo>
                    <a:pt x="204" y="567"/>
                    <a:pt x="208" y="566"/>
                    <a:pt x="209" y="565"/>
                  </a:cubicBezTo>
                  <a:cubicBezTo>
                    <a:pt x="209" y="563"/>
                    <a:pt x="208" y="562"/>
                    <a:pt x="208" y="561"/>
                  </a:cubicBezTo>
                  <a:cubicBezTo>
                    <a:pt x="209" y="561"/>
                    <a:pt x="210" y="562"/>
                    <a:pt x="212" y="563"/>
                  </a:cubicBezTo>
                  <a:cubicBezTo>
                    <a:pt x="213" y="561"/>
                    <a:pt x="209" y="561"/>
                    <a:pt x="209" y="560"/>
                  </a:cubicBezTo>
                  <a:cubicBezTo>
                    <a:pt x="211" y="558"/>
                    <a:pt x="213" y="559"/>
                    <a:pt x="214" y="560"/>
                  </a:cubicBezTo>
                  <a:cubicBezTo>
                    <a:pt x="216" y="562"/>
                    <a:pt x="220" y="564"/>
                    <a:pt x="220" y="566"/>
                  </a:cubicBezTo>
                  <a:cubicBezTo>
                    <a:pt x="220" y="567"/>
                    <a:pt x="219" y="570"/>
                    <a:pt x="217" y="569"/>
                  </a:cubicBezTo>
                  <a:cubicBezTo>
                    <a:pt x="216" y="572"/>
                    <a:pt x="217" y="577"/>
                    <a:pt x="219" y="580"/>
                  </a:cubicBezTo>
                  <a:cubicBezTo>
                    <a:pt x="220" y="580"/>
                    <a:pt x="221" y="579"/>
                    <a:pt x="222" y="579"/>
                  </a:cubicBezTo>
                  <a:cubicBezTo>
                    <a:pt x="222" y="581"/>
                    <a:pt x="223" y="582"/>
                    <a:pt x="223" y="584"/>
                  </a:cubicBezTo>
                  <a:cubicBezTo>
                    <a:pt x="222" y="584"/>
                    <a:pt x="221" y="585"/>
                    <a:pt x="220" y="585"/>
                  </a:cubicBezTo>
                  <a:cubicBezTo>
                    <a:pt x="221" y="584"/>
                    <a:pt x="222" y="583"/>
                    <a:pt x="221" y="582"/>
                  </a:cubicBezTo>
                  <a:cubicBezTo>
                    <a:pt x="217" y="584"/>
                    <a:pt x="212" y="584"/>
                    <a:pt x="209" y="586"/>
                  </a:cubicBezTo>
                  <a:cubicBezTo>
                    <a:pt x="211" y="586"/>
                    <a:pt x="216" y="585"/>
                    <a:pt x="219" y="585"/>
                  </a:cubicBezTo>
                  <a:cubicBezTo>
                    <a:pt x="219" y="586"/>
                    <a:pt x="219" y="588"/>
                    <a:pt x="218" y="589"/>
                  </a:cubicBezTo>
                  <a:cubicBezTo>
                    <a:pt x="218" y="592"/>
                    <a:pt x="219" y="597"/>
                    <a:pt x="216" y="597"/>
                  </a:cubicBezTo>
                  <a:cubicBezTo>
                    <a:pt x="215" y="594"/>
                    <a:pt x="216" y="590"/>
                    <a:pt x="216" y="587"/>
                  </a:cubicBezTo>
                  <a:cubicBezTo>
                    <a:pt x="214" y="587"/>
                    <a:pt x="211" y="589"/>
                    <a:pt x="208" y="588"/>
                  </a:cubicBezTo>
                  <a:cubicBezTo>
                    <a:pt x="208" y="591"/>
                    <a:pt x="210" y="590"/>
                    <a:pt x="210" y="593"/>
                  </a:cubicBezTo>
                  <a:cubicBezTo>
                    <a:pt x="210" y="593"/>
                    <a:pt x="210" y="593"/>
                    <a:pt x="210" y="593"/>
                  </a:cubicBezTo>
                  <a:cubicBezTo>
                    <a:pt x="208" y="595"/>
                    <a:pt x="207" y="593"/>
                    <a:pt x="205" y="593"/>
                  </a:cubicBezTo>
                  <a:cubicBezTo>
                    <a:pt x="204" y="593"/>
                    <a:pt x="203" y="593"/>
                    <a:pt x="201" y="593"/>
                  </a:cubicBezTo>
                  <a:cubicBezTo>
                    <a:pt x="198" y="591"/>
                    <a:pt x="196" y="589"/>
                    <a:pt x="195" y="585"/>
                  </a:cubicBezTo>
                  <a:cubicBezTo>
                    <a:pt x="194" y="585"/>
                    <a:pt x="196" y="583"/>
                    <a:pt x="195" y="585"/>
                  </a:cubicBezTo>
                  <a:close/>
                  <a:moveTo>
                    <a:pt x="211" y="556"/>
                  </a:moveTo>
                  <a:cubicBezTo>
                    <a:pt x="211" y="556"/>
                    <a:pt x="211" y="556"/>
                    <a:pt x="210" y="556"/>
                  </a:cubicBezTo>
                  <a:cubicBezTo>
                    <a:pt x="210" y="555"/>
                    <a:pt x="210" y="555"/>
                    <a:pt x="211" y="555"/>
                  </a:cubicBezTo>
                  <a:cubicBezTo>
                    <a:pt x="217" y="555"/>
                    <a:pt x="223" y="556"/>
                    <a:pt x="230" y="558"/>
                  </a:cubicBezTo>
                  <a:cubicBezTo>
                    <a:pt x="236" y="560"/>
                    <a:pt x="241" y="562"/>
                    <a:pt x="243" y="567"/>
                  </a:cubicBezTo>
                  <a:cubicBezTo>
                    <a:pt x="244" y="568"/>
                    <a:pt x="244" y="570"/>
                    <a:pt x="243" y="572"/>
                  </a:cubicBezTo>
                  <a:cubicBezTo>
                    <a:pt x="243" y="574"/>
                    <a:pt x="241" y="574"/>
                    <a:pt x="240" y="576"/>
                  </a:cubicBezTo>
                  <a:cubicBezTo>
                    <a:pt x="239" y="578"/>
                    <a:pt x="238" y="579"/>
                    <a:pt x="237" y="580"/>
                  </a:cubicBezTo>
                  <a:cubicBezTo>
                    <a:pt x="234" y="585"/>
                    <a:pt x="232" y="590"/>
                    <a:pt x="230" y="594"/>
                  </a:cubicBezTo>
                  <a:cubicBezTo>
                    <a:pt x="229" y="596"/>
                    <a:pt x="228" y="597"/>
                    <a:pt x="227" y="599"/>
                  </a:cubicBezTo>
                  <a:cubicBezTo>
                    <a:pt x="227" y="600"/>
                    <a:pt x="226" y="602"/>
                    <a:pt x="225" y="604"/>
                  </a:cubicBezTo>
                  <a:cubicBezTo>
                    <a:pt x="225" y="605"/>
                    <a:pt x="224" y="606"/>
                    <a:pt x="223" y="608"/>
                  </a:cubicBezTo>
                  <a:cubicBezTo>
                    <a:pt x="222" y="609"/>
                    <a:pt x="222" y="611"/>
                    <a:pt x="220" y="612"/>
                  </a:cubicBezTo>
                  <a:cubicBezTo>
                    <a:pt x="219" y="613"/>
                    <a:pt x="218" y="616"/>
                    <a:pt x="216" y="615"/>
                  </a:cubicBezTo>
                  <a:cubicBezTo>
                    <a:pt x="213" y="615"/>
                    <a:pt x="211" y="610"/>
                    <a:pt x="210" y="606"/>
                  </a:cubicBezTo>
                  <a:cubicBezTo>
                    <a:pt x="210" y="604"/>
                    <a:pt x="209" y="599"/>
                    <a:pt x="209" y="596"/>
                  </a:cubicBezTo>
                  <a:cubicBezTo>
                    <a:pt x="209" y="597"/>
                    <a:pt x="209" y="598"/>
                    <a:pt x="210" y="598"/>
                  </a:cubicBezTo>
                  <a:cubicBezTo>
                    <a:pt x="210" y="600"/>
                    <a:pt x="211" y="597"/>
                    <a:pt x="211" y="599"/>
                  </a:cubicBezTo>
                  <a:cubicBezTo>
                    <a:pt x="212" y="600"/>
                    <a:pt x="212" y="602"/>
                    <a:pt x="213" y="603"/>
                  </a:cubicBezTo>
                  <a:cubicBezTo>
                    <a:pt x="214" y="605"/>
                    <a:pt x="214" y="606"/>
                    <a:pt x="216" y="607"/>
                  </a:cubicBezTo>
                  <a:cubicBezTo>
                    <a:pt x="218" y="607"/>
                    <a:pt x="218" y="604"/>
                    <a:pt x="219" y="603"/>
                  </a:cubicBezTo>
                  <a:cubicBezTo>
                    <a:pt x="222" y="598"/>
                    <a:pt x="224" y="593"/>
                    <a:pt x="227" y="588"/>
                  </a:cubicBezTo>
                  <a:cubicBezTo>
                    <a:pt x="229" y="582"/>
                    <a:pt x="232" y="576"/>
                    <a:pt x="235" y="570"/>
                  </a:cubicBezTo>
                  <a:cubicBezTo>
                    <a:pt x="236" y="568"/>
                    <a:pt x="237" y="566"/>
                    <a:pt x="237" y="564"/>
                  </a:cubicBezTo>
                  <a:cubicBezTo>
                    <a:pt x="237" y="560"/>
                    <a:pt x="231" y="559"/>
                    <a:pt x="226" y="559"/>
                  </a:cubicBezTo>
                  <a:cubicBezTo>
                    <a:pt x="220" y="558"/>
                    <a:pt x="215" y="559"/>
                    <a:pt x="211" y="556"/>
                  </a:cubicBezTo>
                  <a:close/>
                  <a:moveTo>
                    <a:pt x="199" y="556"/>
                  </a:moveTo>
                  <a:cubicBezTo>
                    <a:pt x="199" y="555"/>
                    <a:pt x="200" y="555"/>
                    <a:pt x="200" y="554"/>
                  </a:cubicBezTo>
                  <a:cubicBezTo>
                    <a:pt x="201" y="554"/>
                    <a:pt x="201" y="554"/>
                    <a:pt x="201" y="555"/>
                  </a:cubicBezTo>
                  <a:cubicBezTo>
                    <a:pt x="201" y="556"/>
                    <a:pt x="200" y="558"/>
                    <a:pt x="200" y="559"/>
                  </a:cubicBezTo>
                  <a:cubicBezTo>
                    <a:pt x="198" y="562"/>
                    <a:pt x="197" y="564"/>
                    <a:pt x="195" y="567"/>
                  </a:cubicBezTo>
                  <a:cubicBezTo>
                    <a:pt x="193" y="572"/>
                    <a:pt x="190" y="577"/>
                    <a:pt x="187" y="582"/>
                  </a:cubicBezTo>
                  <a:cubicBezTo>
                    <a:pt x="187" y="584"/>
                    <a:pt x="187" y="585"/>
                    <a:pt x="185" y="586"/>
                  </a:cubicBezTo>
                  <a:cubicBezTo>
                    <a:pt x="183" y="586"/>
                    <a:pt x="184" y="584"/>
                    <a:pt x="183" y="583"/>
                  </a:cubicBezTo>
                  <a:cubicBezTo>
                    <a:pt x="183" y="582"/>
                    <a:pt x="184" y="581"/>
                    <a:pt x="185" y="579"/>
                  </a:cubicBezTo>
                  <a:cubicBezTo>
                    <a:pt x="186" y="578"/>
                    <a:pt x="187" y="577"/>
                    <a:pt x="187" y="576"/>
                  </a:cubicBezTo>
                  <a:cubicBezTo>
                    <a:pt x="188" y="574"/>
                    <a:pt x="189" y="572"/>
                    <a:pt x="190" y="571"/>
                  </a:cubicBezTo>
                  <a:cubicBezTo>
                    <a:pt x="193" y="567"/>
                    <a:pt x="195" y="562"/>
                    <a:pt x="198" y="558"/>
                  </a:cubicBezTo>
                  <a:cubicBezTo>
                    <a:pt x="198" y="558"/>
                    <a:pt x="198" y="557"/>
                    <a:pt x="199" y="557"/>
                  </a:cubicBezTo>
                  <a:cubicBezTo>
                    <a:pt x="199" y="557"/>
                    <a:pt x="199" y="556"/>
                    <a:pt x="199" y="556"/>
                  </a:cubicBezTo>
                  <a:close/>
                  <a:moveTo>
                    <a:pt x="489" y="541"/>
                  </a:moveTo>
                  <a:cubicBezTo>
                    <a:pt x="491" y="540"/>
                    <a:pt x="495" y="537"/>
                    <a:pt x="498" y="539"/>
                  </a:cubicBezTo>
                  <a:cubicBezTo>
                    <a:pt x="497" y="542"/>
                    <a:pt x="497" y="544"/>
                    <a:pt x="498" y="546"/>
                  </a:cubicBezTo>
                  <a:cubicBezTo>
                    <a:pt x="500" y="546"/>
                    <a:pt x="500" y="547"/>
                    <a:pt x="501" y="547"/>
                  </a:cubicBezTo>
                  <a:cubicBezTo>
                    <a:pt x="503" y="547"/>
                    <a:pt x="504" y="544"/>
                    <a:pt x="506" y="544"/>
                  </a:cubicBezTo>
                  <a:cubicBezTo>
                    <a:pt x="508" y="544"/>
                    <a:pt x="508" y="545"/>
                    <a:pt x="510" y="545"/>
                  </a:cubicBezTo>
                  <a:cubicBezTo>
                    <a:pt x="510" y="548"/>
                    <a:pt x="508" y="549"/>
                    <a:pt x="507" y="551"/>
                  </a:cubicBezTo>
                  <a:cubicBezTo>
                    <a:pt x="507" y="554"/>
                    <a:pt x="511" y="556"/>
                    <a:pt x="512" y="559"/>
                  </a:cubicBezTo>
                  <a:cubicBezTo>
                    <a:pt x="512" y="559"/>
                    <a:pt x="512" y="562"/>
                    <a:pt x="512" y="563"/>
                  </a:cubicBezTo>
                  <a:cubicBezTo>
                    <a:pt x="513" y="566"/>
                    <a:pt x="511" y="568"/>
                    <a:pt x="511" y="571"/>
                  </a:cubicBezTo>
                  <a:cubicBezTo>
                    <a:pt x="509" y="573"/>
                    <a:pt x="506" y="575"/>
                    <a:pt x="504" y="577"/>
                  </a:cubicBezTo>
                  <a:cubicBezTo>
                    <a:pt x="503" y="577"/>
                    <a:pt x="502" y="577"/>
                    <a:pt x="502" y="578"/>
                  </a:cubicBezTo>
                  <a:cubicBezTo>
                    <a:pt x="500" y="577"/>
                    <a:pt x="498" y="579"/>
                    <a:pt x="496" y="579"/>
                  </a:cubicBezTo>
                  <a:cubicBezTo>
                    <a:pt x="497" y="578"/>
                    <a:pt x="498" y="578"/>
                    <a:pt x="499" y="577"/>
                  </a:cubicBezTo>
                  <a:cubicBezTo>
                    <a:pt x="499" y="576"/>
                    <a:pt x="498" y="577"/>
                    <a:pt x="498" y="576"/>
                  </a:cubicBezTo>
                  <a:cubicBezTo>
                    <a:pt x="503" y="573"/>
                    <a:pt x="512" y="561"/>
                    <a:pt x="503" y="556"/>
                  </a:cubicBezTo>
                  <a:cubicBezTo>
                    <a:pt x="498" y="557"/>
                    <a:pt x="498" y="562"/>
                    <a:pt x="495" y="564"/>
                  </a:cubicBezTo>
                  <a:cubicBezTo>
                    <a:pt x="493" y="564"/>
                    <a:pt x="492" y="564"/>
                    <a:pt x="491" y="563"/>
                  </a:cubicBezTo>
                  <a:cubicBezTo>
                    <a:pt x="489" y="563"/>
                    <a:pt x="489" y="562"/>
                    <a:pt x="488" y="562"/>
                  </a:cubicBezTo>
                  <a:cubicBezTo>
                    <a:pt x="489" y="562"/>
                    <a:pt x="490" y="561"/>
                    <a:pt x="492" y="560"/>
                  </a:cubicBezTo>
                  <a:cubicBezTo>
                    <a:pt x="493" y="556"/>
                    <a:pt x="497" y="555"/>
                    <a:pt x="498" y="552"/>
                  </a:cubicBezTo>
                  <a:cubicBezTo>
                    <a:pt x="497" y="550"/>
                    <a:pt x="496" y="552"/>
                    <a:pt x="495" y="552"/>
                  </a:cubicBezTo>
                  <a:cubicBezTo>
                    <a:pt x="492" y="551"/>
                    <a:pt x="492" y="547"/>
                    <a:pt x="491" y="545"/>
                  </a:cubicBezTo>
                  <a:cubicBezTo>
                    <a:pt x="490" y="544"/>
                    <a:pt x="490" y="546"/>
                    <a:pt x="489" y="547"/>
                  </a:cubicBezTo>
                  <a:cubicBezTo>
                    <a:pt x="489" y="547"/>
                    <a:pt x="488" y="549"/>
                    <a:pt x="487" y="549"/>
                  </a:cubicBezTo>
                  <a:cubicBezTo>
                    <a:pt x="486" y="550"/>
                    <a:pt x="485" y="550"/>
                    <a:pt x="483" y="550"/>
                  </a:cubicBezTo>
                  <a:cubicBezTo>
                    <a:pt x="486" y="548"/>
                    <a:pt x="488" y="546"/>
                    <a:pt x="489" y="541"/>
                  </a:cubicBezTo>
                  <a:close/>
                  <a:moveTo>
                    <a:pt x="138" y="533"/>
                  </a:moveTo>
                  <a:cubicBezTo>
                    <a:pt x="138" y="536"/>
                    <a:pt x="139" y="540"/>
                    <a:pt x="142" y="540"/>
                  </a:cubicBezTo>
                  <a:cubicBezTo>
                    <a:pt x="141" y="532"/>
                    <a:pt x="137" y="526"/>
                    <a:pt x="132" y="522"/>
                  </a:cubicBezTo>
                  <a:cubicBezTo>
                    <a:pt x="134" y="526"/>
                    <a:pt x="136" y="529"/>
                    <a:pt x="138" y="533"/>
                  </a:cubicBezTo>
                  <a:close/>
                  <a:moveTo>
                    <a:pt x="165" y="518"/>
                  </a:moveTo>
                  <a:cubicBezTo>
                    <a:pt x="167" y="519"/>
                    <a:pt x="168" y="519"/>
                    <a:pt x="170" y="520"/>
                  </a:cubicBezTo>
                  <a:cubicBezTo>
                    <a:pt x="171" y="523"/>
                    <a:pt x="168" y="525"/>
                    <a:pt x="167" y="526"/>
                  </a:cubicBezTo>
                  <a:cubicBezTo>
                    <a:pt x="166" y="528"/>
                    <a:pt x="165" y="529"/>
                    <a:pt x="163" y="531"/>
                  </a:cubicBezTo>
                  <a:cubicBezTo>
                    <a:pt x="165" y="533"/>
                    <a:pt x="169" y="533"/>
                    <a:pt x="171" y="535"/>
                  </a:cubicBezTo>
                  <a:cubicBezTo>
                    <a:pt x="172" y="535"/>
                    <a:pt x="173" y="535"/>
                    <a:pt x="174" y="535"/>
                  </a:cubicBezTo>
                  <a:cubicBezTo>
                    <a:pt x="176" y="537"/>
                    <a:pt x="179" y="539"/>
                    <a:pt x="179" y="545"/>
                  </a:cubicBezTo>
                  <a:cubicBezTo>
                    <a:pt x="178" y="546"/>
                    <a:pt x="175" y="547"/>
                    <a:pt x="173" y="546"/>
                  </a:cubicBezTo>
                  <a:cubicBezTo>
                    <a:pt x="173" y="545"/>
                    <a:pt x="175" y="545"/>
                    <a:pt x="176" y="545"/>
                  </a:cubicBezTo>
                  <a:cubicBezTo>
                    <a:pt x="175" y="544"/>
                    <a:pt x="173" y="544"/>
                    <a:pt x="173" y="542"/>
                  </a:cubicBezTo>
                  <a:cubicBezTo>
                    <a:pt x="171" y="543"/>
                    <a:pt x="170" y="544"/>
                    <a:pt x="169" y="545"/>
                  </a:cubicBezTo>
                  <a:cubicBezTo>
                    <a:pt x="168" y="545"/>
                    <a:pt x="164" y="545"/>
                    <a:pt x="162" y="545"/>
                  </a:cubicBezTo>
                  <a:cubicBezTo>
                    <a:pt x="162" y="547"/>
                    <a:pt x="162" y="548"/>
                    <a:pt x="161" y="549"/>
                  </a:cubicBezTo>
                  <a:cubicBezTo>
                    <a:pt x="158" y="549"/>
                    <a:pt x="155" y="547"/>
                    <a:pt x="152" y="547"/>
                  </a:cubicBezTo>
                  <a:cubicBezTo>
                    <a:pt x="150" y="547"/>
                    <a:pt x="149" y="548"/>
                    <a:pt x="149" y="549"/>
                  </a:cubicBezTo>
                  <a:cubicBezTo>
                    <a:pt x="148" y="550"/>
                    <a:pt x="148" y="550"/>
                    <a:pt x="148" y="550"/>
                  </a:cubicBezTo>
                  <a:cubicBezTo>
                    <a:pt x="147" y="552"/>
                    <a:pt x="146" y="552"/>
                    <a:pt x="145" y="553"/>
                  </a:cubicBezTo>
                  <a:cubicBezTo>
                    <a:pt x="144" y="555"/>
                    <a:pt x="143" y="556"/>
                    <a:pt x="142" y="557"/>
                  </a:cubicBezTo>
                  <a:cubicBezTo>
                    <a:pt x="141" y="558"/>
                    <a:pt x="140" y="558"/>
                    <a:pt x="140" y="559"/>
                  </a:cubicBezTo>
                  <a:cubicBezTo>
                    <a:pt x="139" y="559"/>
                    <a:pt x="139" y="560"/>
                    <a:pt x="139" y="561"/>
                  </a:cubicBezTo>
                  <a:cubicBezTo>
                    <a:pt x="137" y="563"/>
                    <a:pt x="134" y="565"/>
                    <a:pt x="132" y="567"/>
                  </a:cubicBezTo>
                  <a:cubicBezTo>
                    <a:pt x="130" y="569"/>
                    <a:pt x="128" y="572"/>
                    <a:pt x="125" y="573"/>
                  </a:cubicBezTo>
                  <a:cubicBezTo>
                    <a:pt x="132" y="564"/>
                    <a:pt x="139" y="554"/>
                    <a:pt x="146" y="545"/>
                  </a:cubicBezTo>
                  <a:cubicBezTo>
                    <a:pt x="146" y="542"/>
                    <a:pt x="146" y="542"/>
                    <a:pt x="146" y="542"/>
                  </a:cubicBezTo>
                  <a:cubicBezTo>
                    <a:pt x="147" y="540"/>
                    <a:pt x="148" y="540"/>
                    <a:pt x="149" y="540"/>
                  </a:cubicBezTo>
                  <a:cubicBezTo>
                    <a:pt x="151" y="539"/>
                    <a:pt x="151" y="537"/>
                    <a:pt x="153" y="536"/>
                  </a:cubicBezTo>
                  <a:cubicBezTo>
                    <a:pt x="153" y="534"/>
                    <a:pt x="155" y="534"/>
                    <a:pt x="155" y="532"/>
                  </a:cubicBezTo>
                  <a:cubicBezTo>
                    <a:pt x="155" y="530"/>
                    <a:pt x="153" y="530"/>
                    <a:pt x="151" y="529"/>
                  </a:cubicBezTo>
                  <a:cubicBezTo>
                    <a:pt x="151" y="529"/>
                    <a:pt x="150" y="528"/>
                    <a:pt x="150" y="527"/>
                  </a:cubicBezTo>
                  <a:cubicBezTo>
                    <a:pt x="153" y="527"/>
                    <a:pt x="155" y="528"/>
                    <a:pt x="157" y="529"/>
                  </a:cubicBezTo>
                  <a:cubicBezTo>
                    <a:pt x="161" y="527"/>
                    <a:pt x="163" y="522"/>
                    <a:pt x="165" y="518"/>
                  </a:cubicBezTo>
                  <a:close/>
                  <a:moveTo>
                    <a:pt x="498" y="529"/>
                  </a:moveTo>
                  <a:cubicBezTo>
                    <a:pt x="498" y="529"/>
                    <a:pt x="498" y="529"/>
                    <a:pt x="498" y="529"/>
                  </a:cubicBezTo>
                  <a:cubicBezTo>
                    <a:pt x="497" y="530"/>
                    <a:pt x="498" y="530"/>
                    <a:pt x="498" y="529"/>
                  </a:cubicBezTo>
                  <a:cubicBezTo>
                    <a:pt x="498" y="530"/>
                    <a:pt x="498" y="529"/>
                    <a:pt x="498" y="529"/>
                  </a:cubicBezTo>
                  <a:cubicBezTo>
                    <a:pt x="502" y="528"/>
                    <a:pt x="505" y="527"/>
                    <a:pt x="505" y="523"/>
                  </a:cubicBezTo>
                  <a:cubicBezTo>
                    <a:pt x="499" y="522"/>
                    <a:pt x="497" y="526"/>
                    <a:pt x="494" y="529"/>
                  </a:cubicBezTo>
                  <a:cubicBezTo>
                    <a:pt x="492" y="526"/>
                    <a:pt x="491" y="523"/>
                    <a:pt x="489" y="520"/>
                  </a:cubicBezTo>
                  <a:cubicBezTo>
                    <a:pt x="489" y="518"/>
                    <a:pt x="488" y="517"/>
                    <a:pt x="489" y="515"/>
                  </a:cubicBezTo>
                  <a:cubicBezTo>
                    <a:pt x="488" y="514"/>
                    <a:pt x="488" y="513"/>
                    <a:pt x="487" y="513"/>
                  </a:cubicBezTo>
                  <a:cubicBezTo>
                    <a:pt x="484" y="512"/>
                    <a:pt x="483" y="514"/>
                    <a:pt x="480" y="514"/>
                  </a:cubicBezTo>
                  <a:cubicBezTo>
                    <a:pt x="480" y="514"/>
                    <a:pt x="480" y="515"/>
                    <a:pt x="480" y="515"/>
                  </a:cubicBezTo>
                  <a:cubicBezTo>
                    <a:pt x="480" y="516"/>
                    <a:pt x="479" y="516"/>
                    <a:pt x="479" y="516"/>
                  </a:cubicBezTo>
                  <a:cubicBezTo>
                    <a:pt x="479" y="517"/>
                    <a:pt x="479" y="517"/>
                    <a:pt x="479" y="518"/>
                  </a:cubicBezTo>
                  <a:cubicBezTo>
                    <a:pt x="479" y="518"/>
                    <a:pt x="478" y="518"/>
                    <a:pt x="478" y="519"/>
                  </a:cubicBezTo>
                  <a:cubicBezTo>
                    <a:pt x="480" y="519"/>
                    <a:pt x="481" y="518"/>
                    <a:pt x="482" y="518"/>
                  </a:cubicBezTo>
                  <a:cubicBezTo>
                    <a:pt x="484" y="519"/>
                    <a:pt x="485" y="520"/>
                    <a:pt x="485" y="522"/>
                  </a:cubicBezTo>
                  <a:cubicBezTo>
                    <a:pt x="484" y="522"/>
                    <a:pt x="483" y="521"/>
                    <a:pt x="482" y="521"/>
                  </a:cubicBezTo>
                  <a:cubicBezTo>
                    <a:pt x="483" y="523"/>
                    <a:pt x="485" y="525"/>
                    <a:pt x="487" y="524"/>
                  </a:cubicBezTo>
                  <a:cubicBezTo>
                    <a:pt x="488" y="525"/>
                    <a:pt x="488" y="525"/>
                    <a:pt x="488" y="526"/>
                  </a:cubicBezTo>
                  <a:cubicBezTo>
                    <a:pt x="488" y="527"/>
                    <a:pt x="487" y="527"/>
                    <a:pt x="486" y="528"/>
                  </a:cubicBezTo>
                  <a:cubicBezTo>
                    <a:pt x="486" y="528"/>
                    <a:pt x="485" y="528"/>
                    <a:pt x="485" y="529"/>
                  </a:cubicBezTo>
                  <a:cubicBezTo>
                    <a:pt x="486" y="529"/>
                    <a:pt x="487" y="529"/>
                    <a:pt x="488" y="530"/>
                  </a:cubicBezTo>
                  <a:cubicBezTo>
                    <a:pt x="489" y="530"/>
                    <a:pt x="491" y="530"/>
                    <a:pt x="491" y="531"/>
                  </a:cubicBezTo>
                  <a:cubicBezTo>
                    <a:pt x="489" y="534"/>
                    <a:pt x="487" y="536"/>
                    <a:pt x="486" y="539"/>
                  </a:cubicBezTo>
                  <a:cubicBezTo>
                    <a:pt x="485" y="539"/>
                    <a:pt x="485" y="540"/>
                    <a:pt x="484" y="540"/>
                  </a:cubicBezTo>
                  <a:cubicBezTo>
                    <a:pt x="485" y="539"/>
                    <a:pt x="483" y="537"/>
                    <a:pt x="484" y="536"/>
                  </a:cubicBezTo>
                  <a:cubicBezTo>
                    <a:pt x="485" y="535"/>
                    <a:pt x="483" y="535"/>
                    <a:pt x="483" y="534"/>
                  </a:cubicBezTo>
                  <a:cubicBezTo>
                    <a:pt x="483" y="530"/>
                    <a:pt x="482" y="528"/>
                    <a:pt x="482" y="525"/>
                  </a:cubicBezTo>
                  <a:cubicBezTo>
                    <a:pt x="482" y="525"/>
                    <a:pt x="482" y="525"/>
                    <a:pt x="482" y="525"/>
                  </a:cubicBezTo>
                  <a:cubicBezTo>
                    <a:pt x="480" y="523"/>
                    <a:pt x="476" y="524"/>
                    <a:pt x="474" y="525"/>
                  </a:cubicBezTo>
                  <a:cubicBezTo>
                    <a:pt x="472" y="524"/>
                    <a:pt x="469" y="524"/>
                    <a:pt x="468" y="526"/>
                  </a:cubicBezTo>
                  <a:cubicBezTo>
                    <a:pt x="470" y="526"/>
                    <a:pt x="470" y="527"/>
                    <a:pt x="470" y="530"/>
                  </a:cubicBezTo>
                  <a:cubicBezTo>
                    <a:pt x="471" y="531"/>
                    <a:pt x="474" y="531"/>
                    <a:pt x="475" y="532"/>
                  </a:cubicBezTo>
                  <a:cubicBezTo>
                    <a:pt x="476" y="532"/>
                    <a:pt x="476" y="530"/>
                    <a:pt x="477" y="530"/>
                  </a:cubicBezTo>
                  <a:cubicBezTo>
                    <a:pt x="478" y="532"/>
                    <a:pt x="479" y="534"/>
                    <a:pt x="479" y="536"/>
                  </a:cubicBezTo>
                  <a:cubicBezTo>
                    <a:pt x="478" y="535"/>
                    <a:pt x="477" y="536"/>
                    <a:pt x="477" y="536"/>
                  </a:cubicBezTo>
                  <a:cubicBezTo>
                    <a:pt x="478" y="536"/>
                    <a:pt x="480" y="536"/>
                    <a:pt x="480" y="537"/>
                  </a:cubicBezTo>
                  <a:cubicBezTo>
                    <a:pt x="480" y="537"/>
                    <a:pt x="480" y="538"/>
                    <a:pt x="480" y="538"/>
                  </a:cubicBezTo>
                  <a:cubicBezTo>
                    <a:pt x="480" y="539"/>
                    <a:pt x="481" y="538"/>
                    <a:pt x="481" y="539"/>
                  </a:cubicBezTo>
                  <a:cubicBezTo>
                    <a:pt x="481" y="540"/>
                    <a:pt x="480" y="541"/>
                    <a:pt x="480" y="542"/>
                  </a:cubicBezTo>
                  <a:cubicBezTo>
                    <a:pt x="480" y="541"/>
                    <a:pt x="479" y="540"/>
                    <a:pt x="477" y="539"/>
                  </a:cubicBezTo>
                  <a:cubicBezTo>
                    <a:pt x="477" y="539"/>
                    <a:pt x="476" y="537"/>
                    <a:pt x="475" y="537"/>
                  </a:cubicBezTo>
                  <a:cubicBezTo>
                    <a:pt x="474" y="536"/>
                    <a:pt x="474" y="537"/>
                    <a:pt x="474" y="536"/>
                  </a:cubicBezTo>
                  <a:cubicBezTo>
                    <a:pt x="473" y="536"/>
                    <a:pt x="473" y="536"/>
                    <a:pt x="473" y="536"/>
                  </a:cubicBezTo>
                  <a:cubicBezTo>
                    <a:pt x="473" y="535"/>
                    <a:pt x="472" y="535"/>
                    <a:pt x="472" y="535"/>
                  </a:cubicBezTo>
                  <a:cubicBezTo>
                    <a:pt x="472" y="535"/>
                    <a:pt x="472" y="534"/>
                    <a:pt x="472" y="534"/>
                  </a:cubicBezTo>
                  <a:cubicBezTo>
                    <a:pt x="470" y="533"/>
                    <a:pt x="467" y="533"/>
                    <a:pt x="465" y="534"/>
                  </a:cubicBezTo>
                  <a:cubicBezTo>
                    <a:pt x="467" y="534"/>
                    <a:pt x="467" y="534"/>
                    <a:pt x="467" y="534"/>
                  </a:cubicBezTo>
                  <a:cubicBezTo>
                    <a:pt x="471" y="537"/>
                    <a:pt x="476" y="539"/>
                    <a:pt x="479" y="544"/>
                  </a:cubicBezTo>
                  <a:cubicBezTo>
                    <a:pt x="480" y="544"/>
                    <a:pt x="481" y="545"/>
                    <a:pt x="480" y="546"/>
                  </a:cubicBezTo>
                  <a:cubicBezTo>
                    <a:pt x="480" y="547"/>
                    <a:pt x="480" y="548"/>
                    <a:pt x="479" y="548"/>
                  </a:cubicBezTo>
                  <a:cubicBezTo>
                    <a:pt x="477" y="547"/>
                    <a:pt x="476" y="546"/>
                    <a:pt x="474" y="544"/>
                  </a:cubicBezTo>
                  <a:cubicBezTo>
                    <a:pt x="473" y="544"/>
                    <a:pt x="473" y="544"/>
                    <a:pt x="472" y="544"/>
                  </a:cubicBezTo>
                  <a:cubicBezTo>
                    <a:pt x="470" y="542"/>
                    <a:pt x="467" y="540"/>
                    <a:pt x="463" y="540"/>
                  </a:cubicBezTo>
                  <a:cubicBezTo>
                    <a:pt x="462" y="541"/>
                    <a:pt x="461" y="541"/>
                    <a:pt x="461" y="542"/>
                  </a:cubicBezTo>
                  <a:cubicBezTo>
                    <a:pt x="463" y="542"/>
                    <a:pt x="465" y="542"/>
                    <a:pt x="467" y="542"/>
                  </a:cubicBezTo>
                  <a:cubicBezTo>
                    <a:pt x="468" y="542"/>
                    <a:pt x="469" y="543"/>
                    <a:pt x="470" y="544"/>
                  </a:cubicBezTo>
                  <a:cubicBezTo>
                    <a:pt x="471" y="544"/>
                    <a:pt x="472" y="544"/>
                    <a:pt x="472" y="544"/>
                  </a:cubicBezTo>
                  <a:cubicBezTo>
                    <a:pt x="473" y="544"/>
                    <a:pt x="473" y="545"/>
                    <a:pt x="473" y="545"/>
                  </a:cubicBezTo>
                  <a:cubicBezTo>
                    <a:pt x="475" y="546"/>
                    <a:pt x="477" y="547"/>
                    <a:pt x="478" y="550"/>
                  </a:cubicBezTo>
                  <a:cubicBezTo>
                    <a:pt x="477" y="553"/>
                    <a:pt x="474" y="555"/>
                    <a:pt x="472" y="558"/>
                  </a:cubicBezTo>
                  <a:cubicBezTo>
                    <a:pt x="471" y="558"/>
                    <a:pt x="469" y="558"/>
                    <a:pt x="468" y="559"/>
                  </a:cubicBezTo>
                  <a:cubicBezTo>
                    <a:pt x="468" y="562"/>
                    <a:pt x="469" y="564"/>
                    <a:pt x="469" y="567"/>
                  </a:cubicBezTo>
                  <a:cubicBezTo>
                    <a:pt x="470" y="568"/>
                    <a:pt x="473" y="567"/>
                    <a:pt x="474" y="566"/>
                  </a:cubicBezTo>
                  <a:cubicBezTo>
                    <a:pt x="475" y="563"/>
                    <a:pt x="474" y="560"/>
                    <a:pt x="475" y="557"/>
                  </a:cubicBezTo>
                  <a:cubicBezTo>
                    <a:pt x="476" y="556"/>
                    <a:pt x="476" y="554"/>
                    <a:pt x="477" y="554"/>
                  </a:cubicBezTo>
                  <a:cubicBezTo>
                    <a:pt x="478" y="553"/>
                    <a:pt x="478" y="551"/>
                    <a:pt x="479" y="551"/>
                  </a:cubicBezTo>
                  <a:cubicBezTo>
                    <a:pt x="480" y="551"/>
                    <a:pt x="482" y="553"/>
                    <a:pt x="482" y="552"/>
                  </a:cubicBezTo>
                  <a:cubicBezTo>
                    <a:pt x="481" y="551"/>
                    <a:pt x="480" y="550"/>
                    <a:pt x="480" y="549"/>
                  </a:cubicBezTo>
                  <a:cubicBezTo>
                    <a:pt x="481" y="548"/>
                    <a:pt x="482" y="546"/>
                    <a:pt x="484" y="547"/>
                  </a:cubicBezTo>
                  <a:cubicBezTo>
                    <a:pt x="485" y="545"/>
                    <a:pt x="483" y="546"/>
                    <a:pt x="483" y="545"/>
                  </a:cubicBezTo>
                  <a:cubicBezTo>
                    <a:pt x="485" y="541"/>
                    <a:pt x="488" y="538"/>
                    <a:pt x="490" y="534"/>
                  </a:cubicBezTo>
                  <a:cubicBezTo>
                    <a:pt x="492" y="535"/>
                    <a:pt x="493" y="537"/>
                    <a:pt x="495" y="535"/>
                  </a:cubicBezTo>
                  <a:cubicBezTo>
                    <a:pt x="496" y="533"/>
                    <a:pt x="494" y="532"/>
                    <a:pt x="495" y="530"/>
                  </a:cubicBezTo>
                  <a:cubicBezTo>
                    <a:pt x="495" y="529"/>
                    <a:pt x="497" y="528"/>
                    <a:pt x="498" y="528"/>
                  </a:cubicBezTo>
                  <a:cubicBezTo>
                    <a:pt x="498" y="527"/>
                    <a:pt x="499" y="525"/>
                    <a:pt x="500" y="526"/>
                  </a:cubicBezTo>
                  <a:cubicBezTo>
                    <a:pt x="500" y="527"/>
                    <a:pt x="499" y="528"/>
                    <a:pt x="498" y="529"/>
                  </a:cubicBezTo>
                  <a:close/>
                  <a:moveTo>
                    <a:pt x="334" y="438"/>
                  </a:moveTo>
                  <a:cubicBezTo>
                    <a:pt x="333" y="438"/>
                    <a:pt x="333" y="438"/>
                    <a:pt x="333" y="438"/>
                  </a:cubicBezTo>
                  <a:cubicBezTo>
                    <a:pt x="333" y="438"/>
                    <a:pt x="334" y="438"/>
                    <a:pt x="334" y="438"/>
                  </a:cubicBezTo>
                  <a:close/>
                  <a:moveTo>
                    <a:pt x="399" y="421"/>
                  </a:moveTo>
                  <a:cubicBezTo>
                    <a:pt x="396" y="421"/>
                    <a:pt x="393" y="422"/>
                    <a:pt x="390" y="422"/>
                  </a:cubicBezTo>
                  <a:cubicBezTo>
                    <a:pt x="386" y="433"/>
                    <a:pt x="384" y="445"/>
                    <a:pt x="381" y="456"/>
                  </a:cubicBezTo>
                  <a:cubicBezTo>
                    <a:pt x="382" y="461"/>
                    <a:pt x="383" y="466"/>
                    <a:pt x="384" y="470"/>
                  </a:cubicBezTo>
                  <a:cubicBezTo>
                    <a:pt x="388" y="470"/>
                    <a:pt x="392" y="471"/>
                    <a:pt x="396" y="471"/>
                  </a:cubicBezTo>
                  <a:cubicBezTo>
                    <a:pt x="400" y="472"/>
                    <a:pt x="404" y="472"/>
                    <a:pt x="407" y="472"/>
                  </a:cubicBezTo>
                  <a:cubicBezTo>
                    <a:pt x="404" y="455"/>
                    <a:pt x="403" y="437"/>
                    <a:pt x="399" y="421"/>
                  </a:cubicBezTo>
                  <a:close/>
                  <a:moveTo>
                    <a:pt x="235" y="420"/>
                  </a:moveTo>
                  <a:cubicBezTo>
                    <a:pt x="240" y="422"/>
                    <a:pt x="245" y="423"/>
                    <a:pt x="250" y="425"/>
                  </a:cubicBezTo>
                  <a:cubicBezTo>
                    <a:pt x="254" y="436"/>
                    <a:pt x="258" y="446"/>
                    <a:pt x="262" y="458"/>
                  </a:cubicBezTo>
                  <a:cubicBezTo>
                    <a:pt x="274" y="455"/>
                    <a:pt x="285" y="451"/>
                    <a:pt x="297" y="448"/>
                  </a:cubicBezTo>
                  <a:cubicBezTo>
                    <a:pt x="309" y="445"/>
                    <a:pt x="321" y="442"/>
                    <a:pt x="332" y="438"/>
                  </a:cubicBezTo>
                  <a:cubicBezTo>
                    <a:pt x="312" y="441"/>
                    <a:pt x="292" y="444"/>
                    <a:pt x="272" y="447"/>
                  </a:cubicBezTo>
                  <a:cubicBezTo>
                    <a:pt x="270" y="440"/>
                    <a:pt x="267" y="432"/>
                    <a:pt x="265" y="425"/>
                  </a:cubicBezTo>
                  <a:cubicBezTo>
                    <a:pt x="264" y="421"/>
                    <a:pt x="263" y="417"/>
                    <a:pt x="262" y="414"/>
                  </a:cubicBezTo>
                  <a:cubicBezTo>
                    <a:pt x="261" y="413"/>
                    <a:pt x="262" y="412"/>
                    <a:pt x="260" y="412"/>
                  </a:cubicBezTo>
                  <a:cubicBezTo>
                    <a:pt x="252" y="414"/>
                    <a:pt x="243" y="417"/>
                    <a:pt x="235" y="420"/>
                  </a:cubicBezTo>
                  <a:close/>
                  <a:moveTo>
                    <a:pt x="332" y="402"/>
                  </a:moveTo>
                  <a:cubicBezTo>
                    <a:pt x="332" y="401"/>
                    <a:pt x="331" y="402"/>
                    <a:pt x="332" y="402"/>
                  </a:cubicBezTo>
                  <a:cubicBezTo>
                    <a:pt x="332" y="402"/>
                    <a:pt x="332" y="402"/>
                    <a:pt x="332" y="402"/>
                  </a:cubicBezTo>
                  <a:close/>
                  <a:moveTo>
                    <a:pt x="41" y="415"/>
                  </a:moveTo>
                  <a:cubicBezTo>
                    <a:pt x="41" y="420"/>
                    <a:pt x="43" y="425"/>
                    <a:pt x="45" y="428"/>
                  </a:cubicBezTo>
                  <a:cubicBezTo>
                    <a:pt x="49" y="434"/>
                    <a:pt x="55" y="437"/>
                    <a:pt x="63" y="435"/>
                  </a:cubicBezTo>
                  <a:cubicBezTo>
                    <a:pt x="72" y="434"/>
                    <a:pt x="80" y="428"/>
                    <a:pt x="81" y="419"/>
                  </a:cubicBezTo>
                  <a:cubicBezTo>
                    <a:pt x="82" y="415"/>
                    <a:pt x="81" y="411"/>
                    <a:pt x="80" y="408"/>
                  </a:cubicBezTo>
                  <a:cubicBezTo>
                    <a:pt x="78" y="405"/>
                    <a:pt x="77" y="403"/>
                    <a:pt x="75" y="402"/>
                  </a:cubicBezTo>
                  <a:cubicBezTo>
                    <a:pt x="74" y="401"/>
                    <a:pt x="74" y="400"/>
                    <a:pt x="73" y="399"/>
                  </a:cubicBezTo>
                  <a:cubicBezTo>
                    <a:pt x="72" y="399"/>
                    <a:pt x="71" y="399"/>
                    <a:pt x="70" y="398"/>
                  </a:cubicBezTo>
                  <a:cubicBezTo>
                    <a:pt x="69" y="398"/>
                    <a:pt x="68" y="397"/>
                    <a:pt x="67" y="397"/>
                  </a:cubicBezTo>
                  <a:cubicBezTo>
                    <a:pt x="63" y="397"/>
                    <a:pt x="63" y="397"/>
                    <a:pt x="63" y="397"/>
                  </a:cubicBezTo>
                  <a:cubicBezTo>
                    <a:pt x="62" y="400"/>
                    <a:pt x="63" y="402"/>
                    <a:pt x="63" y="405"/>
                  </a:cubicBezTo>
                  <a:cubicBezTo>
                    <a:pt x="65" y="405"/>
                    <a:pt x="68" y="405"/>
                    <a:pt x="69" y="406"/>
                  </a:cubicBezTo>
                  <a:cubicBezTo>
                    <a:pt x="71" y="407"/>
                    <a:pt x="73" y="409"/>
                    <a:pt x="74" y="411"/>
                  </a:cubicBezTo>
                  <a:cubicBezTo>
                    <a:pt x="76" y="415"/>
                    <a:pt x="74" y="420"/>
                    <a:pt x="71" y="422"/>
                  </a:cubicBezTo>
                  <a:cubicBezTo>
                    <a:pt x="70" y="424"/>
                    <a:pt x="69" y="424"/>
                    <a:pt x="67" y="425"/>
                  </a:cubicBezTo>
                  <a:cubicBezTo>
                    <a:pt x="66" y="425"/>
                    <a:pt x="65" y="426"/>
                    <a:pt x="64" y="426"/>
                  </a:cubicBezTo>
                  <a:cubicBezTo>
                    <a:pt x="62" y="427"/>
                    <a:pt x="58" y="428"/>
                    <a:pt x="57" y="427"/>
                  </a:cubicBezTo>
                  <a:cubicBezTo>
                    <a:pt x="55" y="427"/>
                    <a:pt x="53" y="426"/>
                    <a:pt x="52" y="425"/>
                  </a:cubicBezTo>
                  <a:cubicBezTo>
                    <a:pt x="52" y="425"/>
                    <a:pt x="51" y="425"/>
                    <a:pt x="51" y="425"/>
                  </a:cubicBezTo>
                  <a:cubicBezTo>
                    <a:pt x="50" y="424"/>
                    <a:pt x="50" y="423"/>
                    <a:pt x="50" y="422"/>
                  </a:cubicBezTo>
                  <a:cubicBezTo>
                    <a:pt x="48" y="420"/>
                    <a:pt x="48" y="418"/>
                    <a:pt x="48" y="414"/>
                  </a:cubicBezTo>
                  <a:cubicBezTo>
                    <a:pt x="49" y="414"/>
                    <a:pt x="49" y="412"/>
                    <a:pt x="50" y="412"/>
                  </a:cubicBezTo>
                  <a:cubicBezTo>
                    <a:pt x="50" y="411"/>
                    <a:pt x="51" y="411"/>
                    <a:pt x="51" y="409"/>
                  </a:cubicBezTo>
                  <a:cubicBezTo>
                    <a:pt x="50" y="407"/>
                    <a:pt x="49" y="404"/>
                    <a:pt x="47" y="402"/>
                  </a:cubicBezTo>
                  <a:cubicBezTo>
                    <a:pt x="44" y="406"/>
                    <a:pt x="41" y="409"/>
                    <a:pt x="41" y="415"/>
                  </a:cubicBezTo>
                  <a:close/>
                  <a:moveTo>
                    <a:pt x="401" y="403"/>
                  </a:moveTo>
                  <a:cubicBezTo>
                    <a:pt x="396" y="402"/>
                    <a:pt x="391" y="401"/>
                    <a:pt x="386" y="400"/>
                  </a:cubicBezTo>
                  <a:cubicBezTo>
                    <a:pt x="375" y="404"/>
                    <a:pt x="364" y="408"/>
                    <a:pt x="353" y="412"/>
                  </a:cubicBezTo>
                  <a:cubicBezTo>
                    <a:pt x="346" y="409"/>
                    <a:pt x="339" y="406"/>
                    <a:pt x="332" y="402"/>
                  </a:cubicBezTo>
                  <a:cubicBezTo>
                    <a:pt x="334" y="402"/>
                    <a:pt x="336" y="403"/>
                    <a:pt x="337" y="403"/>
                  </a:cubicBezTo>
                  <a:cubicBezTo>
                    <a:pt x="341" y="404"/>
                    <a:pt x="344" y="405"/>
                    <a:pt x="348" y="406"/>
                  </a:cubicBezTo>
                  <a:cubicBezTo>
                    <a:pt x="349" y="406"/>
                    <a:pt x="352" y="407"/>
                    <a:pt x="353" y="407"/>
                  </a:cubicBezTo>
                  <a:cubicBezTo>
                    <a:pt x="355" y="407"/>
                    <a:pt x="358" y="405"/>
                    <a:pt x="359" y="405"/>
                  </a:cubicBezTo>
                  <a:cubicBezTo>
                    <a:pt x="360" y="405"/>
                    <a:pt x="361" y="404"/>
                    <a:pt x="362" y="404"/>
                  </a:cubicBezTo>
                  <a:cubicBezTo>
                    <a:pt x="364" y="403"/>
                    <a:pt x="366" y="402"/>
                    <a:pt x="367" y="402"/>
                  </a:cubicBezTo>
                  <a:cubicBezTo>
                    <a:pt x="368" y="401"/>
                    <a:pt x="369" y="401"/>
                    <a:pt x="370" y="401"/>
                  </a:cubicBezTo>
                  <a:cubicBezTo>
                    <a:pt x="371" y="400"/>
                    <a:pt x="372" y="400"/>
                    <a:pt x="373" y="400"/>
                  </a:cubicBezTo>
                  <a:cubicBezTo>
                    <a:pt x="375" y="399"/>
                    <a:pt x="377" y="398"/>
                    <a:pt x="378" y="398"/>
                  </a:cubicBezTo>
                  <a:cubicBezTo>
                    <a:pt x="380" y="397"/>
                    <a:pt x="384" y="395"/>
                    <a:pt x="385" y="395"/>
                  </a:cubicBezTo>
                  <a:cubicBezTo>
                    <a:pt x="386" y="395"/>
                    <a:pt x="388" y="396"/>
                    <a:pt x="390" y="397"/>
                  </a:cubicBezTo>
                  <a:cubicBezTo>
                    <a:pt x="393" y="398"/>
                    <a:pt x="398" y="401"/>
                    <a:pt x="401" y="403"/>
                  </a:cubicBezTo>
                  <a:cubicBezTo>
                    <a:pt x="403" y="402"/>
                    <a:pt x="401" y="404"/>
                    <a:pt x="401" y="403"/>
                  </a:cubicBezTo>
                  <a:close/>
                  <a:moveTo>
                    <a:pt x="573" y="392"/>
                  </a:moveTo>
                  <a:cubicBezTo>
                    <a:pt x="581" y="394"/>
                    <a:pt x="590" y="397"/>
                    <a:pt x="597" y="400"/>
                  </a:cubicBezTo>
                  <a:cubicBezTo>
                    <a:pt x="598" y="400"/>
                    <a:pt x="600" y="400"/>
                    <a:pt x="600" y="401"/>
                  </a:cubicBezTo>
                  <a:cubicBezTo>
                    <a:pt x="591" y="400"/>
                    <a:pt x="580" y="400"/>
                    <a:pt x="571" y="400"/>
                  </a:cubicBezTo>
                  <a:cubicBezTo>
                    <a:pt x="570" y="402"/>
                    <a:pt x="569" y="405"/>
                    <a:pt x="568" y="408"/>
                  </a:cubicBezTo>
                  <a:cubicBezTo>
                    <a:pt x="572" y="410"/>
                    <a:pt x="575" y="412"/>
                    <a:pt x="579" y="415"/>
                  </a:cubicBezTo>
                  <a:cubicBezTo>
                    <a:pt x="583" y="417"/>
                    <a:pt x="587" y="420"/>
                    <a:pt x="590" y="422"/>
                  </a:cubicBezTo>
                  <a:cubicBezTo>
                    <a:pt x="591" y="423"/>
                    <a:pt x="593" y="423"/>
                    <a:pt x="593" y="425"/>
                  </a:cubicBezTo>
                  <a:cubicBezTo>
                    <a:pt x="584" y="422"/>
                    <a:pt x="575" y="419"/>
                    <a:pt x="565" y="416"/>
                  </a:cubicBezTo>
                  <a:cubicBezTo>
                    <a:pt x="565" y="418"/>
                    <a:pt x="564" y="420"/>
                    <a:pt x="563" y="423"/>
                  </a:cubicBezTo>
                  <a:cubicBezTo>
                    <a:pt x="575" y="427"/>
                    <a:pt x="587" y="431"/>
                    <a:pt x="600" y="435"/>
                  </a:cubicBezTo>
                  <a:cubicBezTo>
                    <a:pt x="601" y="431"/>
                    <a:pt x="602" y="427"/>
                    <a:pt x="603" y="423"/>
                  </a:cubicBezTo>
                  <a:cubicBezTo>
                    <a:pt x="597" y="419"/>
                    <a:pt x="590" y="414"/>
                    <a:pt x="584" y="410"/>
                  </a:cubicBezTo>
                  <a:cubicBezTo>
                    <a:pt x="583" y="409"/>
                    <a:pt x="582" y="409"/>
                    <a:pt x="581" y="407"/>
                  </a:cubicBezTo>
                  <a:cubicBezTo>
                    <a:pt x="590" y="408"/>
                    <a:pt x="599" y="408"/>
                    <a:pt x="608" y="408"/>
                  </a:cubicBezTo>
                  <a:cubicBezTo>
                    <a:pt x="610" y="404"/>
                    <a:pt x="611" y="400"/>
                    <a:pt x="612" y="396"/>
                  </a:cubicBezTo>
                  <a:cubicBezTo>
                    <a:pt x="600" y="392"/>
                    <a:pt x="588" y="388"/>
                    <a:pt x="576" y="384"/>
                  </a:cubicBezTo>
                  <a:cubicBezTo>
                    <a:pt x="575" y="387"/>
                    <a:pt x="574" y="389"/>
                    <a:pt x="573" y="392"/>
                  </a:cubicBezTo>
                  <a:close/>
                  <a:moveTo>
                    <a:pt x="387" y="372"/>
                  </a:moveTo>
                  <a:cubicBezTo>
                    <a:pt x="385" y="372"/>
                    <a:pt x="381" y="370"/>
                    <a:pt x="380" y="370"/>
                  </a:cubicBezTo>
                  <a:cubicBezTo>
                    <a:pt x="375" y="371"/>
                    <a:pt x="371" y="373"/>
                    <a:pt x="367" y="375"/>
                  </a:cubicBezTo>
                  <a:cubicBezTo>
                    <a:pt x="362" y="376"/>
                    <a:pt x="358" y="377"/>
                    <a:pt x="353" y="378"/>
                  </a:cubicBezTo>
                  <a:cubicBezTo>
                    <a:pt x="352" y="380"/>
                    <a:pt x="349" y="382"/>
                    <a:pt x="348" y="383"/>
                  </a:cubicBezTo>
                  <a:cubicBezTo>
                    <a:pt x="348" y="384"/>
                    <a:pt x="346" y="385"/>
                    <a:pt x="348" y="385"/>
                  </a:cubicBezTo>
                  <a:cubicBezTo>
                    <a:pt x="356" y="383"/>
                    <a:pt x="365" y="381"/>
                    <a:pt x="374" y="379"/>
                  </a:cubicBezTo>
                  <a:cubicBezTo>
                    <a:pt x="378" y="378"/>
                    <a:pt x="380" y="379"/>
                    <a:pt x="384" y="379"/>
                  </a:cubicBezTo>
                  <a:cubicBezTo>
                    <a:pt x="391" y="381"/>
                    <a:pt x="397" y="382"/>
                    <a:pt x="403" y="383"/>
                  </a:cubicBezTo>
                  <a:cubicBezTo>
                    <a:pt x="405" y="382"/>
                    <a:pt x="406" y="380"/>
                    <a:pt x="408" y="379"/>
                  </a:cubicBezTo>
                  <a:cubicBezTo>
                    <a:pt x="401" y="377"/>
                    <a:pt x="394" y="374"/>
                    <a:pt x="387" y="372"/>
                  </a:cubicBezTo>
                  <a:close/>
                  <a:moveTo>
                    <a:pt x="418" y="369"/>
                  </a:moveTo>
                  <a:cubicBezTo>
                    <a:pt x="419" y="370"/>
                    <a:pt x="420" y="370"/>
                    <a:pt x="420" y="371"/>
                  </a:cubicBezTo>
                  <a:cubicBezTo>
                    <a:pt x="418" y="372"/>
                    <a:pt x="417" y="374"/>
                    <a:pt x="415" y="375"/>
                  </a:cubicBezTo>
                  <a:cubicBezTo>
                    <a:pt x="407" y="370"/>
                    <a:pt x="398" y="365"/>
                    <a:pt x="390" y="361"/>
                  </a:cubicBezTo>
                  <a:cubicBezTo>
                    <a:pt x="392" y="358"/>
                    <a:pt x="395" y="357"/>
                    <a:pt x="397" y="354"/>
                  </a:cubicBezTo>
                  <a:cubicBezTo>
                    <a:pt x="397" y="354"/>
                    <a:pt x="397" y="354"/>
                    <a:pt x="398" y="354"/>
                  </a:cubicBezTo>
                  <a:cubicBezTo>
                    <a:pt x="404" y="359"/>
                    <a:pt x="411" y="364"/>
                    <a:pt x="418" y="369"/>
                  </a:cubicBezTo>
                  <a:close/>
                  <a:moveTo>
                    <a:pt x="257" y="371"/>
                  </a:moveTo>
                  <a:cubicBezTo>
                    <a:pt x="273" y="371"/>
                    <a:pt x="273" y="371"/>
                    <a:pt x="273" y="371"/>
                  </a:cubicBezTo>
                  <a:cubicBezTo>
                    <a:pt x="273" y="354"/>
                    <a:pt x="273" y="354"/>
                    <a:pt x="273" y="354"/>
                  </a:cubicBezTo>
                  <a:cubicBezTo>
                    <a:pt x="257" y="354"/>
                    <a:pt x="257" y="354"/>
                    <a:pt x="257" y="354"/>
                  </a:cubicBezTo>
                  <a:cubicBezTo>
                    <a:pt x="257" y="371"/>
                    <a:pt x="257" y="371"/>
                    <a:pt x="257" y="371"/>
                  </a:cubicBezTo>
                  <a:close/>
                  <a:moveTo>
                    <a:pt x="257" y="354"/>
                  </a:moveTo>
                  <a:cubicBezTo>
                    <a:pt x="257" y="354"/>
                    <a:pt x="257" y="354"/>
                    <a:pt x="257" y="354"/>
                  </a:cubicBezTo>
                  <a:moveTo>
                    <a:pt x="249" y="371"/>
                  </a:moveTo>
                  <a:cubicBezTo>
                    <a:pt x="252" y="371"/>
                    <a:pt x="252" y="371"/>
                    <a:pt x="252" y="371"/>
                  </a:cubicBezTo>
                  <a:cubicBezTo>
                    <a:pt x="252" y="353"/>
                    <a:pt x="252" y="353"/>
                    <a:pt x="252" y="353"/>
                  </a:cubicBezTo>
                  <a:cubicBezTo>
                    <a:pt x="249" y="353"/>
                    <a:pt x="249" y="353"/>
                    <a:pt x="249" y="353"/>
                  </a:cubicBezTo>
                  <a:cubicBezTo>
                    <a:pt x="249" y="371"/>
                    <a:pt x="249" y="371"/>
                    <a:pt x="249" y="371"/>
                  </a:cubicBezTo>
                  <a:close/>
                  <a:moveTo>
                    <a:pt x="249" y="353"/>
                  </a:moveTo>
                  <a:cubicBezTo>
                    <a:pt x="249" y="353"/>
                    <a:pt x="249" y="353"/>
                    <a:pt x="249" y="353"/>
                  </a:cubicBezTo>
                  <a:moveTo>
                    <a:pt x="65" y="353"/>
                  </a:moveTo>
                  <a:cubicBezTo>
                    <a:pt x="56" y="355"/>
                    <a:pt x="46" y="357"/>
                    <a:pt x="37" y="359"/>
                  </a:cubicBezTo>
                  <a:cubicBezTo>
                    <a:pt x="34" y="359"/>
                    <a:pt x="30" y="359"/>
                    <a:pt x="28" y="360"/>
                  </a:cubicBezTo>
                  <a:cubicBezTo>
                    <a:pt x="29" y="363"/>
                    <a:pt x="29" y="366"/>
                    <a:pt x="30" y="368"/>
                  </a:cubicBezTo>
                  <a:cubicBezTo>
                    <a:pt x="35" y="367"/>
                    <a:pt x="39" y="366"/>
                    <a:pt x="45" y="366"/>
                  </a:cubicBezTo>
                  <a:cubicBezTo>
                    <a:pt x="45" y="372"/>
                    <a:pt x="47" y="376"/>
                    <a:pt x="47" y="383"/>
                  </a:cubicBezTo>
                  <a:cubicBezTo>
                    <a:pt x="42" y="383"/>
                    <a:pt x="38" y="384"/>
                    <a:pt x="33" y="385"/>
                  </a:cubicBezTo>
                  <a:cubicBezTo>
                    <a:pt x="32" y="387"/>
                    <a:pt x="34" y="390"/>
                    <a:pt x="34" y="393"/>
                  </a:cubicBezTo>
                  <a:cubicBezTo>
                    <a:pt x="47" y="391"/>
                    <a:pt x="59" y="389"/>
                    <a:pt x="72" y="387"/>
                  </a:cubicBezTo>
                  <a:cubicBezTo>
                    <a:pt x="72" y="385"/>
                    <a:pt x="71" y="381"/>
                    <a:pt x="71" y="378"/>
                  </a:cubicBezTo>
                  <a:cubicBezTo>
                    <a:pt x="65" y="379"/>
                    <a:pt x="60" y="381"/>
                    <a:pt x="54" y="381"/>
                  </a:cubicBezTo>
                  <a:cubicBezTo>
                    <a:pt x="53" y="376"/>
                    <a:pt x="52" y="370"/>
                    <a:pt x="51" y="365"/>
                  </a:cubicBezTo>
                  <a:cubicBezTo>
                    <a:pt x="56" y="363"/>
                    <a:pt x="62" y="362"/>
                    <a:pt x="67" y="362"/>
                  </a:cubicBezTo>
                  <a:cubicBezTo>
                    <a:pt x="67" y="360"/>
                    <a:pt x="67" y="359"/>
                    <a:pt x="67" y="357"/>
                  </a:cubicBezTo>
                  <a:cubicBezTo>
                    <a:pt x="66" y="356"/>
                    <a:pt x="67" y="353"/>
                    <a:pt x="65" y="353"/>
                  </a:cubicBezTo>
                  <a:cubicBezTo>
                    <a:pt x="65" y="353"/>
                    <a:pt x="65" y="353"/>
                    <a:pt x="65" y="353"/>
                  </a:cubicBezTo>
                  <a:close/>
                  <a:moveTo>
                    <a:pt x="280" y="353"/>
                  </a:moveTo>
                  <a:cubicBezTo>
                    <a:pt x="280" y="367"/>
                    <a:pt x="280" y="367"/>
                    <a:pt x="280" y="367"/>
                  </a:cubicBezTo>
                  <a:cubicBezTo>
                    <a:pt x="280" y="368"/>
                    <a:pt x="279" y="371"/>
                    <a:pt x="281" y="371"/>
                  </a:cubicBezTo>
                  <a:cubicBezTo>
                    <a:pt x="282" y="371"/>
                    <a:pt x="282" y="371"/>
                    <a:pt x="282" y="371"/>
                  </a:cubicBezTo>
                  <a:cubicBezTo>
                    <a:pt x="283" y="366"/>
                    <a:pt x="282" y="360"/>
                    <a:pt x="283" y="355"/>
                  </a:cubicBezTo>
                  <a:cubicBezTo>
                    <a:pt x="282" y="354"/>
                    <a:pt x="281" y="353"/>
                    <a:pt x="280" y="352"/>
                  </a:cubicBezTo>
                  <a:cubicBezTo>
                    <a:pt x="280" y="353"/>
                    <a:pt x="280" y="353"/>
                    <a:pt x="280" y="353"/>
                  </a:cubicBezTo>
                  <a:close/>
                  <a:moveTo>
                    <a:pt x="591" y="344"/>
                  </a:moveTo>
                  <a:cubicBezTo>
                    <a:pt x="591" y="344"/>
                    <a:pt x="591" y="344"/>
                    <a:pt x="591" y="344"/>
                  </a:cubicBezTo>
                  <a:cubicBezTo>
                    <a:pt x="589" y="345"/>
                    <a:pt x="586" y="346"/>
                    <a:pt x="585" y="347"/>
                  </a:cubicBezTo>
                  <a:cubicBezTo>
                    <a:pt x="585" y="347"/>
                    <a:pt x="584" y="347"/>
                    <a:pt x="584" y="347"/>
                  </a:cubicBezTo>
                  <a:cubicBezTo>
                    <a:pt x="584" y="347"/>
                    <a:pt x="584" y="348"/>
                    <a:pt x="583" y="349"/>
                  </a:cubicBezTo>
                  <a:cubicBezTo>
                    <a:pt x="582" y="350"/>
                    <a:pt x="581" y="350"/>
                    <a:pt x="581" y="352"/>
                  </a:cubicBezTo>
                  <a:cubicBezTo>
                    <a:pt x="579" y="357"/>
                    <a:pt x="579" y="362"/>
                    <a:pt x="579" y="368"/>
                  </a:cubicBezTo>
                  <a:cubicBezTo>
                    <a:pt x="580" y="371"/>
                    <a:pt x="581" y="374"/>
                    <a:pt x="583" y="376"/>
                  </a:cubicBezTo>
                  <a:cubicBezTo>
                    <a:pt x="592" y="379"/>
                    <a:pt x="604" y="380"/>
                    <a:pt x="615" y="381"/>
                  </a:cubicBezTo>
                  <a:cubicBezTo>
                    <a:pt x="616" y="379"/>
                    <a:pt x="616" y="376"/>
                    <a:pt x="616" y="373"/>
                  </a:cubicBezTo>
                  <a:cubicBezTo>
                    <a:pt x="610" y="373"/>
                    <a:pt x="603" y="371"/>
                    <a:pt x="597" y="370"/>
                  </a:cubicBezTo>
                  <a:cubicBezTo>
                    <a:pt x="592" y="370"/>
                    <a:pt x="588" y="369"/>
                    <a:pt x="586" y="367"/>
                  </a:cubicBezTo>
                  <a:cubicBezTo>
                    <a:pt x="584" y="364"/>
                    <a:pt x="585" y="359"/>
                    <a:pt x="586" y="357"/>
                  </a:cubicBezTo>
                  <a:cubicBezTo>
                    <a:pt x="589" y="352"/>
                    <a:pt x="593" y="353"/>
                    <a:pt x="599" y="354"/>
                  </a:cubicBezTo>
                  <a:cubicBezTo>
                    <a:pt x="605" y="355"/>
                    <a:pt x="613" y="356"/>
                    <a:pt x="619" y="356"/>
                  </a:cubicBezTo>
                  <a:cubicBezTo>
                    <a:pt x="619" y="354"/>
                    <a:pt x="620" y="351"/>
                    <a:pt x="620" y="348"/>
                  </a:cubicBezTo>
                  <a:cubicBezTo>
                    <a:pt x="612" y="347"/>
                    <a:pt x="600" y="345"/>
                    <a:pt x="591" y="344"/>
                  </a:cubicBezTo>
                  <a:close/>
                  <a:moveTo>
                    <a:pt x="27" y="339"/>
                  </a:moveTo>
                  <a:cubicBezTo>
                    <a:pt x="26" y="342"/>
                    <a:pt x="27" y="344"/>
                    <a:pt x="27" y="347"/>
                  </a:cubicBezTo>
                  <a:cubicBezTo>
                    <a:pt x="40" y="346"/>
                    <a:pt x="53" y="346"/>
                    <a:pt x="66" y="345"/>
                  </a:cubicBezTo>
                  <a:cubicBezTo>
                    <a:pt x="65" y="342"/>
                    <a:pt x="65" y="340"/>
                    <a:pt x="65" y="336"/>
                  </a:cubicBezTo>
                  <a:cubicBezTo>
                    <a:pt x="52" y="337"/>
                    <a:pt x="40" y="338"/>
                    <a:pt x="27" y="339"/>
                  </a:cubicBezTo>
                  <a:close/>
                  <a:moveTo>
                    <a:pt x="287" y="339"/>
                  </a:moveTo>
                  <a:cubicBezTo>
                    <a:pt x="294" y="339"/>
                    <a:pt x="294" y="339"/>
                    <a:pt x="294" y="339"/>
                  </a:cubicBezTo>
                  <a:cubicBezTo>
                    <a:pt x="294" y="325"/>
                    <a:pt x="294" y="325"/>
                    <a:pt x="294" y="325"/>
                  </a:cubicBezTo>
                  <a:cubicBezTo>
                    <a:pt x="287" y="325"/>
                    <a:pt x="287" y="325"/>
                    <a:pt x="287" y="325"/>
                  </a:cubicBezTo>
                  <a:cubicBezTo>
                    <a:pt x="287" y="339"/>
                    <a:pt x="287" y="339"/>
                    <a:pt x="287" y="339"/>
                  </a:cubicBezTo>
                  <a:close/>
                  <a:moveTo>
                    <a:pt x="280" y="324"/>
                  </a:moveTo>
                  <a:cubicBezTo>
                    <a:pt x="280" y="336"/>
                    <a:pt x="280" y="336"/>
                    <a:pt x="280" y="336"/>
                  </a:cubicBezTo>
                  <a:cubicBezTo>
                    <a:pt x="280" y="337"/>
                    <a:pt x="279" y="340"/>
                    <a:pt x="281" y="339"/>
                  </a:cubicBezTo>
                  <a:cubicBezTo>
                    <a:pt x="282" y="339"/>
                    <a:pt x="282" y="339"/>
                    <a:pt x="282" y="339"/>
                  </a:cubicBezTo>
                  <a:cubicBezTo>
                    <a:pt x="283" y="336"/>
                    <a:pt x="282" y="330"/>
                    <a:pt x="283" y="325"/>
                  </a:cubicBezTo>
                  <a:cubicBezTo>
                    <a:pt x="282" y="324"/>
                    <a:pt x="281" y="323"/>
                    <a:pt x="280" y="323"/>
                  </a:cubicBezTo>
                  <a:cubicBezTo>
                    <a:pt x="280" y="324"/>
                    <a:pt x="280" y="324"/>
                    <a:pt x="280" y="324"/>
                  </a:cubicBezTo>
                  <a:close/>
                  <a:moveTo>
                    <a:pt x="300" y="318"/>
                  </a:moveTo>
                  <a:cubicBezTo>
                    <a:pt x="299" y="319"/>
                    <a:pt x="299" y="319"/>
                    <a:pt x="298" y="320"/>
                  </a:cubicBezTo>
                  <a:cubicBezTo>
                    <a:pt x="298" y="339"/>
                    <a:pt x="298" y="339"/>
                    <a:pt x="298" y="339"/>
                  </a:cubicBezTo>
                  <a:cubicBezTo>
                    <a:pt x="297" y="342"/>
                    <a:pt x="299" y="342"/>
                    <a:pt x="300" y="343"/>
                  </a:cubicBezTo>
                  <a:cubicBezTo>
                    <a:pt x="300" y="335"/>
                    <a:pt x="301" y="326"/>
                    <a:pt x="300" y="318"/>
                  </a:cubicBezTo>
                  <a:close/>
                  <a:moveTo>
                    <a:pt x="582" y="304"/>
                  </a:moveTo>
                  <a:cubicBezTo>
                    <a:pt x="582" y="315"/>
                    <a:pt x="582" y="325"/>
                    <a:pt x="582" y="336"/>
                  </a:cubicBezTo>
                  <a:cubicBezTo>
                    <a:pt x="589" y="336"/>
                    <a:pt x="589" y="336"/>
                    <a:pt x="589" y="336"/>
                  </a:cubicBezTo>
                  <a:cubicBezTo>
                    <a:pt x="589" y="328"/>
                    <a:pt x="587" y="320"/>
                    <a:pt x="589" y="312"/>
                  </a:cubicBezTo>
                  <a:cubicBezTo>
                    <a:pt x="592" y="312"/>
                    <a:pt x="596" y="312"/>
                    <a:pt x="599" y="312"/>
                  </a:cubicBezTo>
                  <a:cubicBezTo>
                    <a:pt x="599" y="320"/>
                    <a:pt x="600" y="326"/>
                    <a:pt x="599" y="333"/>
                  </a:cubicBezTo>
                  <a:cubicBezTo>
                    <a:pt x="606" y="333"/>
                    <a:pt x="606" y="333"/>
                    <a:pt x="606" y="333"/>
                  </a:cubicBezTo>
                  <a:cubicBezTo>
                    <a:pt x="605" y="327"/>
                    <a:pt x="605" y="319"/>
                    <a:pt x="605" y="312"/>
                  </a:cubicBezTo>
                  <a:cubicBezTo>
                    <a:pt x="608" y="312"/>
                    <a:pt x="612" y="311"/>
                    <a:pt x="614" y="312"/>
                  </a:cubicBezTo>
                  <a:cubicBezTo>
                    <a:pt x="614" y="320"/>
                    <a:pt x="614" y="328"/>
                    <a:pt x="614" y="335"/>
                  </a:cubicBezTo>
                  <a:cubicBezTo>
                    <a:pt x="617" y="335"/>
                    <a:pt x="618" y="334"/>
                    <a:pt x="621" y="335"/>
                  </a:cubicBezTo>
                  <a:cubicBezTo>
                    <a:pt x="621" y="324"/>
                    <a:pt x="620" y="314"/>
                    <a:pt x="620" y="303"/>
                  </a:cubicBezTo>
                  <a:cubicBezTo>
                    <a:pt x="607" y="304"/>
                    <a:pt x="594" y="304"/>
                    <a:pt x="582" y="304"/>
                  </a:cubicBezTo>
                  <a:close/>
                  <a:moveTo>
                    <a:pt x="27" y="293"/>
                  </a:moveTo>
                  <a:cubicBezTo>
                    <a:pt x="27" y="295"/>
                    <a:pt x="27" y="298"/>
                    <a:pt x="27" y="301"/>
                  </a:cubicBezTo>
                  <a:cubicBezTo>
                    <a:pt x="35" y="301"/>
                    <a:pt x="44" y="301"/>
                    <a:pt x="52" y="302"/>
                  </a:cubicBezTo>
                  <a:cubicBezTo>
                    <a:pt x="44" y="308"/>
                    <a:pt x="35" y="313"/>
                    <a:pt x="26" y="318"/>
                  </a:cubicBezTo>
                  <a:cubicBezTo>
                    <a:pt x="26" y="321"/>
                    <a:pt x="26" y="324"/>
                    <a:pt x="26" y="327"/>
                  </a:cubicBezTo>
                  <a:cubicBezTo>
                    <a:pt x="39" y="327"/>
                    <a:pt x="51" y="328"/>
                    <a:pt x="64" y="328"/>
                  </a:cubicBezTo>
                  <a:cubicBezTo>
                    <a:pt x="64" y="326"/>
                    <a:pt x="65" y="323"/>
                    <a:pt x="64" y="320"/>
                  </a:cubicBezTo>
                  <a:cubicBezTo>
                    <a:pt x="56" y="320"/>
                    <a:pt x="47" y="320"/>
                    <a:pt x="40" y="319"/>
                  </a:cubicBezTo>
                  <a:cubicBezTo>
                    <a:pt x="48" y="314"/>
                    <a:pt x="57" y="309"/>
                    <a:pt x="65" y="303"/>
                  </a:cubicBezTo>
                  <a:cubicBezTo>
                    <a:pt x="66" y="301"/>
                    <a:pt x="65" y="298"/>
                    <a:pt x="66" y="295"/>
                  </a:cubicBezTo>
                  <a:cubicBezTo>
                    <a:pt x="53" y="294"/>
                    <a:pt x="41" y="293"/>
                    <a:pt x="27" y="293"/>
                  </a:cubicBezTo>
                  <a:close/>
                  <a:moveTo>
                    <a:pt x="398" y="320"/>
                  </a:moveTo>
                  <a:cubicBezTo>
                    <a:pt x="397" y="321"/>
                    <a:pt x="398" y="321"/>
                    <a:pt x="398" y="321"/>
                  </a:cubicBezTo>
                  <a:cubicBezTo>
                    <a:pt x="398" y="322"/>
                    <a:pt x="398" y="321"/>
                    <a:pt x="398" y="321"/>
                  </a:cubicBezTo>
                  <a:cubicBezTo>
                    <a:pt x="398" y="321"/>
                    <a:pt x="398" y="321"/>
                    <a:pt x="398" y="320"/>
                  </a:cubicBezTo>
                  <a:cubicBezTo>
                    <a:pt x="395" y="314"/>
                    <a:pt x="391" y="309"/>
                    <a:pt x="389" y="303"/>
                  </a:cubicBezTo>
                  <a:cubicBezTo>
                    <a:pt x="389" y="301"/>
                    <a:pt x="389" y="298"/>
                    <a:pt x="388" y="295"/>
                  </a:cubicBezTo>
                  <a:cubicBezTo>
                    <a:pt x="388" y="294"/>
                    <a:pt x="388" y="293"/>
                    <a:pt x="388" y="292"/>
                  </a:cubicBezTo>
                  <a:cubicBezTo>
                    <a:pt x="388" y="291"/>
                    <a:pt x="388" y="289"/>
                    <a:pt x="386" y="289"/>
                  </a:cubicBezTo>
                  <a:cubicBezTo>
                    <a:pt x="386" y="294"/>
                    <a:pt x="386" y="301"/>
                    <a:pt x="386" y="306"/>
                  </a:cubicBezTo>
                  <a:cubicBezTo>
                    <a:pt x="390" y="311"/>
                    <a:pt x="393" y="316"/>
                    <a:pt x="398" y="320"/>
                  </a:cubicBezTo>
                  <a:close/>
                  <a:moveTo>
                    <a:pt x="426" y="272"/>
                  </a:moveTo>
                  <a:cubicBezTo>
                    <a:pt x="426" y="277"/>
                    <a:pt x="426" y="277"/>
                    <a:pt x="426" y="277"/>
                  </a:cubicBezTo>
                  <a:cubicBezTo>
                    <a:pt x="429" y="277"/>
                    <a:pt x="429" y="277"/>
                    <a:pt x="429" y="277"/>
                  </a:cubicBezTo>
                  <a:cubicBezTo>
                    <a:pt x="430" y="275"/>
                    <a:pt x="431" y="272"/>
                    <a:pt x="433" y="270"/>
                  </a:cubicBezTo>
                  <a:cubicBezTo>
                    <a:pt x="432" y="269"/>
                    <a:pt x="434" y="268"/>
                    <a:pt x="433" y="268"/>
                  </a:cubicBezTo>
                  <a:cubicBezTo>
                    <a:pt x="430" y="270"/>
                    <a:pt x="428" y="271"/>
                    <a:pt x="426" y="272"/>
                  </a:cubicBezTo>
                  <a:close/>
                  <a:moveTo>
                    <a:pt x="576" y="269"/>
                  </a:moveTo>
                  <a:cubicBezTo>
                    <a:pt x="578" y="279"/>
                    <a:pt x="580" y="289"/>
                    <a:pt x="581" y="298"/>
                  </a:cubicBezTo>
                  <a:cubicBezTo>
                    <a:pt x="583" y="298"/>
                    <a:pt x="586" y="298"/>
                    <a:pt x="587" y="297"/>
                  </a:cubicBezTo>
                  <a:cubicBezTo>
                    <a:pt x="586" y="290"/>
                    <a:pt x="585" y="283"/>
                    <a:pt x="584" y="276"/>
                  </a:cubicBezTo>
                  <a:cubicBezTo>
                    <a:pt x="594" y="275"/>
                    <a:pt x="605" y="273"/>
                    <a:pt x="615" y="271"/>
                  </a:cubicBezTo>
                  <a:cubicBezTo>
                    <a:pt x="615" y="268"/>
                    <a:pt x="614" y="266"/>
                    <a:pt x="614" y="263"/>
                  </a:cubicBezTo>
                  <a:cubicBezTo>
                    <a:pt x="601" y="265"/>
                    <a:pt x="589" y="267"/>
                    <a:pt x="576" y="269"/>
                  </a:cubicBezTo>
                  <a:close/>
                  <a:moveTo>
                    <a:pt x="423" y="258"/>
                  </a:moveTo>
                  <a:cubicBezTo>
                    <a:pt x="423" y="251"/>
                    <a:pt x="423" y="251"/>
                    <a:pt x="423" y="251"/>
                  </a:cubicBezTo>
                  <a:cubicBezTo>
                    <a:pt x="425" y="251"/>
                    <a:pt x="425" y="251"/>
                    <a:pt x="425" y="251"/>
                  </a:cubicBezTo>
                  <a:cubicBezTo>
                    <a:pt x="427" y="252"/>
                    <a:pt x="429" y="255"/>
                    <a:pt x="431" y="256"/>
                  </a:cubicBezTo>
                  <a:cubicBezTo>
                    <a:pt x="431" y="260"/>
                    <a:pt x="430" y="263"/>
                    <a:pt x="430" y="266"/>
                  </a:cubicBezTo>
                  <a:cubicBezTo>
                    <a:pt x="427" y="267"/>
                    <a:pt x="426" y="271"/>
                    <a:pt x="421" y="271"/>
                  </a:cubicBezTo>
                  <a:cubicBezTo>
                    <a:pt x="421" y="266"/>
                    <a:pt x="421" y="266"/>
                    <a:pt x="421" y="266"/>
                  </a:cubicBezTo>
                  <a:cubicBezTo>
                    <a:pt x="423" y="266"/>
                    <a:pt x="425" y="267"/>
                    <a:pt x="425" y="266"/>
                  </a:cubicBezTo>
                  <a:cubicBezTo>
                    <a:pt x="425" y="265"/>
                    <a:pt x="425" y="265"/>
                    <a:pt x="425" y="265"/>
                  </a:cubicBezTo>
                  <a:cubicBezTo>
                    <a:pt x="425" y="263"/>
                    <a:pt x="423" y="264"/>
                    <a:pt x="421" y="264"/>
                  </a:cubicBezTo>
                  <a:cubicBezTo>
                    <a:pt x="421" y="259"/>
                    <a:pt x="421" y="259"/>
                    <a:pt x="421" y="259"/>
                  </a:cubicBezTo>
                  <a:cubicBezTo>
                    <a:pt x="421" y="258"/>
                    <a:pt x="422" y="258"/>
                    <a:pt x="423" y="258"/>
                  </a:cubicBezTo>
                  <a:close/>
                  <a:moveTo>
                    <a:pt x="34" y="258"/>
                  </a:moveTo>
                  <a:cubicBezTo>
                    <a:pt x="33" y="261"/>
                    <a:pt x="32" y="264"/>
                    <a:pt x="32" y="266"/>
                  </a:cubicBezTo>
                  <a:cubicBezTo>
                    <a:pt x="37" y="270"/>
                    <a:pt x="42" y="273"/>
                    <a:pt x="47" y="277"/>
                  </a:cubicBezTo>
                  <a:cubicBezTo>
                    <a:pt x="52" y="281"/>
                    <a:pt x="57" y="285"/>
                    <a:pt x="62" y="288"/>
                  </a:cubicBezTo>
                  <a:cubicBezTo>
                    <a:pt x="62" y="289"/>
                    <a:pt x="64" y="289"/>
                    <a:pt x="64" y="290"/>
                  </a:cubicBezTo>
                  <a:cubicBezTo>
                    <a:pt x="65" y="290"/>
                    <a:pt x="65" y="290"/>
                    <a:pt x="65" y="290"/>
                  </a:cubicBezTo>
                  <a:cubicBezTo>
                    <a:pt x="66" y="290"/>
                    <a:pt x="66" y="291"/>
                    <a:pt x="66" y="290"/>
                  </a:cubicBezTo>
                  <a:cubicBezTo>
                    <a:pt x="67" y="287"/>
                    <a:pt x="67" y="284"/>
                    <a:pt x="68" y="282"/>
                  </a:cubicBezTo>
                  <a:cubicBezTo>
                    <a:pt x="65" y="280"/>
                    <a:pt x="62" y="278"/>
                    <a:pt x="60" y="276"/>
                  </a:cubicBezTo>
                  <a:cubicBezTo>
                    <a:pt x="61" y="274"/>
                    <a:pt x="61" y="271"/>
                    <a:pt x="62" y="268"/>
                  </a:cubicBezTo>
                  <a:cubicBezTo>
                    <a:pt x="62" y="265"/>
                    <a:pt x="63" y="262"/>
                    <a:pt x="64" y="260"/>
                  </a:cubicBezTo>
                  <a:cubicBezTo>
                    <a:pt x="67" y="259"/>
                    <a:pt x="70" y="259"/>
                    <a:pt x="73" y="258"/>
                  </a:cubicBezTo>
                  <a:cubicBezTo>
                    <a:pt x="74" y="255"/>
                    <a:pt x="74" y="252"/>
                    <a:pt x="75" y="249"/>
                  </a:cubicBezTo>
                  <a:cubicBezTo>
                    <a:pt x="61" y="252"/>
                    <a:pt x="47" y="255"/>
                    <a:pt x="34" y="258"/>
                  </a:cubicBezTo>
                  <a:close/>
                  <a:moveTo>
                    <a:pt x="281" y="242"/>
                  </a:moveTo>
                  <a:cubicBezTo>
                    <a:pt x="282" y="244"/>
                    <a:pt x="279" y="242"/>
                    <a:pt x="280" y="245"/>
                  </a:cubicBezTo>
                  <a:cubicBezTo>
                    <a:pt x="280" y="308"/>
                    <a:pt x="280" y="308"/>
                    <a:pt x="280" y="308"/>
                  </a:cubicBezTo>
                  <a:cubicBezTo>
                    <a:pt x="280" y="309"/>
                    <a:pt x="279" y="311"/>
                    <a:pt x="281" y="311"/>
                  </a:cubicBezTo>
                  <a:cubicBezTo>
                    <a:pt x="283" y="311"/>
                    <a:pt x="283" y="310"/>
                    <a:pt x="283" y="309"/>
                  </a:cubicBezTo>
                  <a:cubicBezTo>
                    <a:pt x="283" y="306"/>
                    <a:pt x="283" y="306"/>
                    <a:pt x="283" y="306"/>
                  </a:cubicBezTo>
                  <a:cubicBezTo>
                    <a:pt x="283" y="218"/>
                    <a:pt x="283" y="218"/>
                    <a:pt x="283" y="218"/>
                  </a:cubicBezTo>
                  <a:cubicBezTo>
                    <a:pt x="282" y="218"/>
                    <a:pt x="282" y="218"/>
                    <a:pt x="282" y="218"/>
                  </a:cubicBezTo>
                  <a:cubicBezTo>
                    <a:pt x="281" y="225"/>
                    <a:pt x="282" y="234"/>
                    <a:pt x="281" y="242"/>
                  </a:cubicBezTo>
                  <a:close/>
                  <a:moveTo>
                    <a:pt x="567" y="239"/>
                  </a:moveTo>
                  <a:cubicBezTo>
                    <a:pt x="568" y="242"/>
                    <a:pt x="570" y="248"/>
                    <a:pt x="571" y="249"/>
                  </a:cubicBezTo>
                  <a:cubicBezTo>
                    <a:pt x="571" y="250"/>
                    <a:pt x="572" y="250"/>
                    <a:pt x="572" y="250"/>
                  </a:cubicBezTo>
                  <a:cubicBezTo>
                    <a:pt x="574" y="252"/>
                    <a:pt x="576" y="255"/>
                    <a:pt x="579" y="257"/>
                  </a:cubicBezTo>
                  <a:cubicBezTo>
                    <a:pt x="588" y="261"/>
                    <a:pt x="601" y="255"/>
                    <a:pt x="604" y="250"/>
                  </a:cubicBezTo>
                  <a:cubicBezTo>
                    <a:pt x="605" y="249"/>
                    <a:pt x="605" y="248"/>
                    <a:pt x="606" y="247"/>
                  </a:cubicBezTo>
                  <a:cubicBezTo>
                    <a:pt x="607" y="245"/>
                    <a:pt x="607" y="245"/>
                    <a:pt x="608" y="242"/>
                  </a:cubicBezTo>
                  <a:cubicBezTo>
                    <a:pt x="608" y="236"/>
                    <a:pt x="607" y="232"/>
                    <a:pt x="605" y="228"/>
                  </a:cubicBezTo>
                  <a:cubicBezTo>
                    <a:pt x="602" y="223"/>
                    <a:pt x="600" y="220"/>
                    <a:pt x="595" y="218"/>
                  </a:cubicBezTo>
                  <a:cubicBezTo>
                    <a:pt x="593" y="217"/>
                    <a:pt x="587" y="216"/>
                    <a:pt x="584" y="217"/>
                  </a:cubicBezTo>
                  <a:cubicBezTo>
                    <a:pt x="574" y="219"/>
                    <a:pt x="566" y="226"/>
                    <a:pt x="567" y="239"/>
                  </a:cubicBezTo>
                  <a:close/>
                  <a:moveTo>
                    <a:pt x="268" y="216"/>
                  </a:moveTo>
                  <a:cubicBezTo>
                    <a:pt x="268" y="217"/>
                    <a:pt x="268" y="217"/>
                    <a:pt x="268" y="217"/>
                  </a:cubicBezTo>
                  <a:cubicBezTo>
                    <a:pt x="266" y="223"/>
                    <a:pt x="263" y="229"/>
                    <a:pt x="261" y="234"/>
                  </a:cubicBezTo>
                  <a:cubicBezTo>
                    <a:pt x="260" y="235"/>
                    <a:pt x="260" y="235"/>
                    <a:pt x="260" y="236"/>
                  </a:cubicBezTo>
                  <a:cubicBezTo>
                    <a:pt x="259" y="237"/>
                    <a:pt x="259" y="238"/>
                    <a:pt x="260" y="239"/>
                  </a:cubicBezTo>
                  <a:cubicBezTo>
                    <a:pt x="261" y="239"/>
                    <a:pt x="261" y="237"/>
                    <a:pt x="261" y="236"/>
                  </a:cubicBezTo>
                  <a:cubicBezTo>
                    <a:pt x="262" y="234"/>
                    <a:pt x="263" y="232"/>
                    <a:pt x="264" y="231"/>
                  </a:cubicBezTo>
                  <a:cubicBezTo>
                    <a:pt x="264" y="230"/>
                    <a:pt x="265" y="229"/>
                    <a:pt x="265" y="228"/>
                  </a:cubicBezTo>
                  <a:cubicBezTo>
                    <a:pt x="266" y="226"/>
                    <a:pt x="267" y="224"/>
                    <a:pt x="267" y="223"/>
                  </a:cubicBezTo>
                  <a:cubicBezTo>
                    <a:pt x="267" y="223"/>
                    <a:pt x="267" y="222"/>
                    <a:pt x="267" y="221"/>
                  </a:cubicBezTo>
                  <a:cubicBezTo>
                    <a:pt x="268" y="221"/>
                    <a:pt x="269" y="220"/>
                    <a:pt x="269" y="219"/>
                  </a:cubicBezTo>
                  <a:cubicBezTo>
                    <a:pt x="269" y="218"/>
                    <a:pt x="270" y="216"/>
                    <a:pt x="269" y="216"/>
                  </a:cubicBezTo>
                  <a:cubicBezTo>
                    <a:pt x="268" y="216"/>
                    <a:pt x="268" y="216"/>
                    <a:pt x="268" y="216"/>
                  </a:cubicBezTo>
                  <a:close/>
                  <a:moveTo>
                    <a:pt x="296" y="219"/>
                  </a:moveTo>
                  <a:cubicBezTo>
                    <a:pt x="297" y="222"/>
                    <a:pt x="299" y="225"/>
                    <a:pt x="300" y="228"/>
                  </a:cubicBezTo>
                  <a:cubicBezTo>
                    <a:pt x="300" y="230"/>
                    <a:pt x="300" y="231"/>
                    <a:pt x="301" y="232"/>
                  </a:cubicBezTo>
                  <a:cubicBezTo>
                    <a:pt x="301" y="233"/>
                    <a:pt x="302" y="234"/>
                    <a:pt x="302" y="234"/>
                  </a:cubicBezTo>
                  <a:cubicBezTo>
                    <a:pt x="303" y="235"/>
                    <a:pt x="302" y="237"/>
                    <a:pt x="304" y="237"/>
                  </a:cubicBezTo>
                  <a:cubicBezTo>
                    <a:pt x="302" y="230"/>
                    <a:pt x="299" y="224"/>
                    <a:pt x="297" y="216"/>
                  </a:cubicBezTo>
                  <a:cubicBezTo>
                    <a:pt x="296" y="216"/>
                    <a:pt x="297" y="214"/>
                    <a:pt x="295" y="213"/>
                  </a:cubicBezTo>
                  <a:cubicBezTo>
                    <a:pt x="293" y="215"/>
                    <a:pt x="295" y="218"/>
                    <a:pt x="296" y="219"/>
                  </a:cubicBezTo>
                  <a:close/>
                  <a:moveTo>
                    <a:pt x="257" y="209"/>
                  </a:moveTo>
                  <a:cubicBezTo>
                    <a:pt x="252" y="215"/>
                    <a:pt x="246" y="221"/>
                    <a:pt x="240" y="226"/>
                  </a:cubicBezTo>
                  <a:cubicBezTo>
                    <a:pt x="242" y="226"/>
                    <a:pt x="243" y="224"/>
                    <a:pt x="245" y="223"/>
                  </a:cubicBezTo>
                  <a:cubicBezTo>
                    <a:pt x="246" y="221"/>
                    <a:pt x="248" y="220"/>
                    <a:pt x="249" y="218"/>
                  </a:cubicBezTo>
                  <a:cubicBezTo>
                    <a:pt x="252" y="217"/>
                    <a:pt x="254" y="215"/>
                    <a:pt x="256" y="212"/>
                  </a:cubicBezTo>
                  <a:cubicBezTo>
                    <a:pt x="257" y="212"/>
                    <a:pt x="258" y="211"/>
                    <a:pt x="259" y="210"/>
                  </a:cubicBezTo>
                  <a:cubicBezTo>
                    <a:pt x="258" y="210"/>
                    <a:pt x="258" y="209"/>
                    <a:pt x="257" y="209"/>
                  </a:cubicBezTo>
                  <a:close/>
                  <a:moveTo>
                    <a:pt x="321" y="221"/>
                  </a:moveTo>
                  <a:cubicBezTo>
                    <a:pt x="320" y="220"/>
                    <a:pt x="319" y="220"/>
                    <a:pt x="319" y="219"/>
                  </a:cubicBezTo>
                  <a:cubicBezTo>
                    <a:pt x="315" y="215"/>
                    <a:pt x="311" y="211"/>
                    <a:pt x="307" y="207"/>
                  </a:cubicBezTo>
                  <a:cubicBezTo>
                    <a:pt x="307" y="207"/>
                    <a:pt x="305" y="205"/>
                    <a:pt x="305" y="206"/>
                  </a:cubicBezTo>
                  <a:cubicBezTo>
                    <a:pt x="305" y="206"/>
                    <a:pt x="305" y="207"/>
                    <a:pt x="305" y="207"/>
                  </a:cubicBezTo>
                  <a:cubicBezTo>
                    <a:pt x="307" y="210"/>
                    <a:pt x="311" y="212"/>
                    <a:pt x="313" y="215"/>
                  </a:cubicBezTo>
                  <a:cubicBezTo>
                    <a:pt x="315" y="217"/>
                    <a:pt x="316" y="218"/>
                    <a:pt x="318" y="220"/>
                  </a:cubicBezTo>
                  <a:cubicBezTo>
                    <a:pt x="319" y="221"/>
                    <a:pt x="320" y="223"/>
                    <a:pt x="322" y="224"/>
                  </a:cubicBezTo>
                  <a:cubicBezTo>
                    <a:pt x="323" y="223"/>
                    <a:pt x="322" y="222"/>
                    <a:pt x="321" y="221"/>
                  </a:cubicBezTo>
                  <a:close/>
                  <a:moveTo>
                    <a:pt x="238" y="204"/>
                  </a:moveTo>
                  <a:cubicBezTo>
                    <a:pt x="235" y="205"/>
                    <a:pt x="232" y="206"/>
                    <a:pt x="230" y="207"/>
                  </a:cubicBezTo>
                  <a:cubicBezTo>
                    <a:pt x="229" y="208"/>
                    <a:pt x="228" y="208"/>
                    <a:pt x="228" y="209"/>
                  </a:cubicBezTo>
                  <a:cubicBezTo>
                    <a:pt x="229" y="209"/>
                    <a:pt x="231" y="208"/>
                    <a:pt x="232" y="208"/>
                  </a:cubicBezTo>
                  <a:cubicBezTo>
                    <a:pt x="237" y="206"/>
                    <a:pt x="242" y="204"/>
                    <a:pt x="246" y="202"/>
                  </a:cubicBezTo>
                  <a:cubicBezTo>
                    <a:pt x="247" y="201"/>
                    <a:pt x="249" y="201"/>
                    <a:pt x="249" y="200"/>
                  </a:cubicBezTo>
                  <a:cubicBezTo>
                    <a:pt x="245" y="201"/>
                    <a:pt x="241" y="203"/>
                    <a:pt x="238" y="204"/>
                  </a:cubicBezTo>
                  <a:close/>
                  <a:moveTo>
                    <a:pt x="312" y="195"/>
                  </a:moveTo>
                  <a:cubicBezTo>
                    <a:pt x="311" y="195"/>
                    <a:pt x="311" y="195"/>
                    <a:pt x="311" y="194"/>
                  </a:cubicBezTo>
                  <a:cubicBezTo>
                    <a:pt x="319" y="197"/>
                    <a:pt x="326" y="200"/>
                    <a:pt x="334" y="204"/>
                  </a:cubicBezTo>
                  <a:cubicBezTo>
                    <a:pt x="333" y="205"/>
                    <a:pt x="331" y="204"/>
                    <a:pt x="331" y="204"/>
                  </a:cubicBezTo>
                  <a:cubicBezTo>
                    <a:pt x="329" y="203"/>
                    <a:pt x="328" y="202"/>
                    <a:pt x="327" y="202"/>
                  </a:cubicBezTo>
                  <a:cubicBezTo>
                    <a:pt x="326" y="201"/>
                    <a:pt x="325" y="201"/>
                    <a:pt x="324" y="201"/>
                  </a:cubicBezTo>
                  <a:cubicBezTo>
                    <a:pt x="324" y="200"/>
                    <a:pt x="323" y="200"/>
                    <a:pt x="323" y="200"/>
                  </a:cubicBezTo>
                  <a:cubicBezTo>
                    <a:pt x="321" y="199"/>
                    <a:pt x="319" y="198"/>
                    <a:pt x="317" y="198"/>
                  </a:cubicBezTo>
                  <a:cubicBezTo>
                    <a:pt x="315" y="197"/>
                    <a:pt x="313" y="196"/>
                    <a:pt x="312" y="195"/>
                  </a:cubicBezTo>
                  <a:close/>
                  <a:moveTo>
                    <a:pt x="187" y="193"/>
                  </a:moveTo>
                  <a:cubicBezTo>
                    <a:pt x="187" y="309"/>
                    <a:pt x="187" y="309"/>
                    <a:pt x="187" y="309"/>
                  </a:cubicBezTo>
                  <a:cubicBezTo>
                    <a:pt x="187" y="311"/>
                    <a:pt x="189" y="311"/>
                    <a:pt x="190" y="311"/>
                  </a:cubicBezTo>
                  <a:cubicBezTo>
                    <a:pt x="192" y="310"/>
                    <a:pt x="191" y="311"/>
                    <a:pt x="191" y="309"/>
                  </a:cubicBezTo>
                  <a:cubicBezTo>
                    <a:pt x="191" y="307"/>
                    <a:pt x="191" y="306"/>
                    <a:pt x="191" y="305"/>
                  </a:cubicBezTo>
                  <a:cubicBezTo>
                    <a:pt x="191" y="297"/>
                    <a:pt x="191" y="289"/>
                    <a:pt x="191" y="283"/>
                  </a:cubicBezTo>
                  <a:cubicBezTo>
                    <a:pt x="191" y="195"/>
                    <a:pt x="191" y="195"/>
                    <a:pt x="191" y="195"/>
                  </a:cubicBezTo>
                  <a:cubicBezTo>
                    <a:pt x="191" y="194"/>
                    <a:pt x="192" y="192"/>
                    <a:pt x="190" y="192"/>
                  </a:cubicBezTo>
                  <a:cubicBezTo>
                    <a:pt x="188" y="192"/>
                    <a:pt x="188" y="192"/>
                    <a:pt x="188" y="192"/>
                  </a:cubicBezTo>
                  <a:cubicBezTo>
                    <a:pt x="187" y="192"/>
                    <a:pt x="187" y="193"/>
                    <a:pt x="187" y="193"/>
                  </a:cubicBezTo>
                  <a:close/>
                  <a:moveTo>
                    <a:pt x="243" y="191"/>
                  </a:moveTo>
                  <a:cubicBezTo>
                    <a:pt x="244" y="191"/>
                    <a:pt x="245" y="190"/>
                    <a:pt x="246" y="191"/>
                  </a:cubicBezTo>
                  <a:cubicBezTo>
                    <a:pt x="245" y="194"/>
                    <a:pt x="242" y="194"/>
                    <a:pt x="241" y="194"/>
                  </a:cubicBezTo>
                  <a:cubicBezTo>
                    <a:pt x="240" y="195"/>
                    <a:pt x="239" y="196"/>
                    <a:pt x="238" y="196"/>
                  </a:cubicBezTo>
                  <a:cubicBezTo>
                    <a:pt x="237" y="196"/>
                    <a:pt x="236" y="196"/>
                    <a:pt x="235" y="197"/>
                  </a:cubicBezTo>
                  <a:cubicBezTo>
                    <a:pt x="234" y="197"/>
                    <a:pt x="233" y="198"/>
                    <a:pt x="232" y="198"/>
                  </a:cubicBezTo>
                  <a:cubicBezTo>
                    <a:pt x="232" y="199"/>
                    <a:pt x="231" y="198"/>
                    <a:pt x="231" y="199"/>
                  </a:cubicBezTo>
                  <a:cubicBezTo>
                    <a:pt x="230" y="199"/>
                    <a:pt x="229" y="199"/>
                    <a:pt x="228" y="200"/>
                  </a:cubicBezTo>
                  <a:cubicBezTo>
                    <a:pt x="227" y="200"/>
                    <a:pt x="225" y="201"/>
                    <a:pt x="224" y="202"/>
                  </a:cubicBezTo>
                  <a:cubicBezTo>
                    <a:pt x="222" y="202"/>
                    <a:pt x="223" y="200"/>
                    <a:pt x="222" y="201"/>
                  </a:cubicBezTo>
                  <a:cubicBezTo>
                    <a:pt x="221" y="201"/>
                    <a:pt x="220" y="201"/>
                    <a:pt x="220" y="202"/>
                  </a:cubicBezTo>
                  <a:cubicBezTo>
                    <a:pt x="219" y="202"/>
                    <a:pt x="220" y="203"/>
                    <a:pt x="220" y="203"/>
                  </a:cubicBezTo>
                  <a:cubicBezTo>
                    <a:pt x="221" y="207"/>
                    <a:pt x="223" y="211"/>
                    <a:pt x="225" y="215"/>
                  </a:cubicBezTo>
                  <a:cubicBezTo>
                    <a:pt x="226" y="215"/>
                    <a:pt x="226" y="214"/>
                    <a:pt x="227" y="214"/>
                  </a:cubicBezTo>
                  <a:cubicBezTo>
                    <a:pt x="228" y="214"/>
                    <a:pt x="227" y="212"/>
                    <a:pt x="228" y="212"/>
                  </a:cubicBezTo>
                  <a:cubicBezTo>
                    <a:pt x="233" y="210"/>
                    <a:pt x="239" y="208"/>
                    <a:pt x="245" y="205"/>
                  </a:cubicBezTo>
                  <a:cubicBezTo>
                    <a:pt x="247" y="204"/>
                    <a:pt x="249" y="203"/>
                    <a:pt x="251" y="204"/>
                  </a:cubicBezTo>
                  <a:cubicBezTo>
                    <a:pt x="251" y="205"/>
                    <a:pt x="251" y="205"/>
                    <a:pt x="250" y="206"/>
                  </a:cubicBezTo>
                  <a:cubicBezTo>
                    <a:pt x="247" y="210"/>
                    <a:pt x="243" y="214"/>
                    <a:pt x="239" y="217"/>
                  </a:cubicBezTo>
                  <a:cubicBezTo>
                    <a:pt x="237" y="219"/>
                    <a:pt x="236" y="220"/>
                    <a:pt x="235" y="221"/>
                  </a:cubicBezTo>
                  <a:cubicBezTo>
                    <a:pt x="234" y="222"/>
                    <a:pt x="235" y="222"/>
                    <a:pt x="233" y="221"/>
                  </a:cubicBezTo>
                  <a:cubicBezTo>
                    <a:pt x="233" y="222"/>
                    <a:pt x="232" y="223"/>
                    <a:pt x="231" y="223"/>
                  </a:cubicBezTo>
                  <a:cubicBezTo>
                    <a:pt x="232" y="225"/>
                    <a:pt x="234" y="227"/>
                    <a:pt x="236" y="228"/>
                  </a:cubicBezTo>
                  <a:cubicBezTo>
                    <a:pt x="238" y="230"/>
                    <a:pt x="239" y="232"/>
                    <a:pt x="241" y="233"/>
                  </a:cubicBezTo>
                  <a:cubicBezTo>
                    <a:pt x="242" y="233"/>
                    <a:pt x="243" y="232"/>
                    <a:pt x="244" y="231"/>
                  </a:cubicBezTo>
                  <a:cubicBezTo>
                    <a:pt x="244" y="230"/>
                    <a:pt x="242" y="230"/>
                    <a:pt x="243" y="229"/>
                  </a:cubicBezTo>
                  <a:cubicBezTo>
                    <a:pt x="247" y="225"/>
                    <a:pt x="252" y="221"/>
                    <a:pt x="256" y="217"/>
                  </a:cubicBezTo>
                  <a:cubicBezTo>
                    <a:pt x="256" y="216"/>
                    <a:pt x="257" y="215"/>
                    <a:pt x="258" y="214"/>
                  </a:cubicBezTo>
                  <a:cubicBezTo>
                    <a:pt x="258" y="214"/>
                    <a:pt x="259" y="212"/>
                    <a:pt x="260" y="214"/>
                  </a:cubicBezTo>
                  <a:cubicBezTo>
                    <a:pt x="262" y="214"/>
                    <a:pt x="261" y="215"/>
                    <a:pt x="260" y="216"/>
                  </a:cubicBezTo>
                  <a:cubicBezTo>
                    <a:pt x="258" y="223"/>
                    <a:pt x="255" y="229"/>
                    <a:pt x="253" y="236"/>
                  </a:cubicBezTo>
                  <a:cubicBezTo>
                    <a:pt x="252" y="237"/>
                    <a:pt x="251" y="235"/>
                    <a:pt x="251" y="236"/>
                  </a:cubicBezTo>
                  <a:cubicBezTo>
                    <a:pt x="250" y="237"/>
                    <a:pt x="250" y="238"/>
                    <a:pt x="250" y="239"/>
                  </a:cubicBezTo>
                  <a:cubicBezTo>
                    <a:pt x="250" y="240"/>
                    <a:pt x="252" y="240"/>
                    <a:pt x="253" y="241"/>
                  </a:cubicBezTo>
                  <a:cubicBezTo>
                    <a:pt x="256" y="242"/>
                    <a:pt x="259" y="243"/>
                    <a:pt x="263" y="244"/>
                  </a:cubicBezTo>
                  <a:cubicBezTo>
                    <a:pt x="264" y="244"/>
                    <a:pt x="264" y="243"/>
                    <a:pt x="264" y="242"/>
                  </a:cubicBezTo>
                  <a:cubicBezTo>
                    <a:pt x="265" y="241"/>
                    <a:pt x="262" y="241"/>
                    <a:pt x="263" y="241"/>
                  </a:cubicBezTo>
                  <a:cubicBezTo>
                    <a:pt x="264" y="238"/>
                    <a:pt x="266" y="235"/>
                    <a:pt x="267" y="232"/>
                  </a:cubicBezTo>
                  <a:cubicBezTo>
                    <a:pt x="267" y="231"/>
                    <a:pt x="267" y="230"/>
                    <a:pt x="267" y="229"/>
                  </a:cubicBezTo>
                  <a:cubicBezTo>
                    <a:pt x="268" y="228"/>
                    <a:pt x="268" y="227"/>
                    <a:pt x="269" y="226"/>
                  </a:cubicBezTo>
                  <a:cubicBezTo>
                    <a:pt x="269" y="225"/>
                    <a:pt x="269" y="224"/>
                    <a:pt x="270" y="223"/>
                  </a:cubicBezTo>
                  <a:cubicBezTo>
                    <a:pt x="270" y="222"/>
                    <a:pt x="271" y="221"/>
                    <a:pt x="271" y="220"/>
                  </a:cubicBezTo>
                  <a:cubicBezTo>
                    <a:pt x="271" y="220"/>
                    <a:pt x="271" y="219"/>
                    <a:pt x="272" y="219"/>
                  </a:cubicBezTo>
                  <a:cubicBezTo>
                    <a:pt x="272" y="219"/>
                    <a:pt x="273" y="219"/>
                    <a:pt x="273" y="219"/>
                  </a:cubicBezTo>
                  <a:cubicBezTo>
                    <a:pt x="275" y="220"/>
                    <a:pt x="274" y="222"/>
                    <a:pt x="274" y="224"/>
                  </a:cubicBezTo>
                  <a:cubicBezTo>
                    <a:pt x="274" y="230"/>
                    <a:pt x="274" y="236"/>
                    <a:pt x="274" y="242"/>
                  </a:cubicBezTo>
                  <a:cubicBezTo>
                    <a:pt x="275" y="244"/>
                    <a:pt x="273" y="242"/>
                    <a:pt x="273" y="243"/>
                  </a:cubicBezTo>
                  <a:cubicBezTo>
                    <a:pt x="273" y="311"/>
                    <a:pt x="273" y="311"/>
                    <a:pt x="273" y="311"/>
                  </a:cubicBezTo>
                  <a:cubicBezTo>
                    <a:pt x="196" y="311"/>
                    <a:pt x="196" y="311"/>
                    <a:pt x="196" y="311"/>
                  </a:cubicBezTo>
                  <a:cubicBezTo>
                    <a:pt x="196" y="192"/>
                    <a:pt x="196" y="192"/>
                    <a:pt x="196" y="192"/>
                  </a:cubicBezTo>
                  <a:cubicBezTo>
                    <a:pt x="203" y="192"/>
                    <a:pt x="211" y="193"/>
                    <a:pt x="218" y="192"/>
                  </a:cubicBezTo>
                  <a:cubicBezTo>
                    <a:pt x="218" y="191"/>
                    <a:pt x="218" y="191"/>
                    <a:pt x="218" y="191"/>
                  </a:cubicBezTo>
                  <a:cubicBezTo>
                    <a:pt x="226" y="191"/>
                    <a:pt x="235" y="190"/>
                    <a:pt x="243" y="191"/>
                  </a:cubicBezTo>
                  <a:close/>
                  <a:moveTo>
                    <a:pt x="457" y="191"/>
                  </a:moveTo>
                  <a:cubicBezTo>
                    <a:pt x="455" y="196"/>
                    <a:pt x="453" y="201"/>
                    <a:pt x="451" y="207"/>
                  </a:cubicBezTo>
                  <a:cubicBezTo>
                    <a:pt x="450" y="209"/>
                    <a:pt x="450" y="212"/>
                    <a:pt x="449" y="215"/>
                  </a:cubicBezTo>
                  <a:cubicBezTo>
                    <a:pt x="448" y="218"/>
                    <a:pt x="446" y="220"/>
                    <a:pt x="447" y="223"/>
                  </a:cubicBezTo>
                  <a:cubicBezTo>
                    <a:pt x="448" y="223"/>
                    <a:pt x="448" y="221"/>
                    <a:pt x="449" y="220"/>
                  </a:cubicBezTo>
                  <a:cubicBezTo>
                    <a:pt x="452" y="210"/>
                    <a:pt x="455" y="200"/>
                    <a:pt x="458" y="190"/>
                  </a:cubicBezTo>
                  <a:cubicBezTo>
                    <a:pt x="457" y="190"/>
                    <a:pt x="457" y="190"/>
                    <a:pt x="457" y="190"/>
                  </a:cubicBezTo>
                  <a:cubicBezTo>
                    <a:pt x="457" y="190"/>
                    <a:pt x="457" y="190"/>
                    <a:pt x="457" y="191"/>
                  </a:cubicBezTo>
                  <a:close/>
                  <a:moveTo>
                    <a:pt x="468" y="190"/>
                  </a:moveTo>
                  <a:cubicBezTo>
                    <a:pt x="468" y="226"/>
                    <a:pt x="468" y="226"/>
                    <a:pt x="468" y="226"/>
                  </a:cubicBezTo>
                  <a:cubicBezTo>
                    <a:pt x="468" y="229"/>
                    <a:pt x="468" y="229"/>
                    <a:pt x="468" y="229"/>
                  </a:cubicBezTo>
                  <a:cubicBezTo>
                    <a:pt x="468" y="230"/>
                    <a:pt x="468" y="231"/>
                    <a:pt x="469" y="231"/>
                  </a:cubicBezTo>
                  <a:cubicBezTo>
                    <a:pt x="470" y="231"/>
                    <a:pt x="470" y="230"/>
                    <a:pt x="470" y="229"/>
                  </a:cubicBezTo>
                  <a:cubicBezTo>
                    <a:pt x="470" y="228"/>
                    <a:pt x="470" y="227"/>
                    <a:pt x="470" y="226"/>
                  </a:cubicBezTo>
                  <a:cubicBezTo>
                    <a:pt x="470" y="215"/>
                    <a:pt x="470" y="202"/>
                    <a:pt x="470" y="191"/>
                  </a:cubicBezTo>
                  <a:cubicBezTo>
                    <a:pt x="470" y="191"/>
                    <a:pt x="470" y="189"/>
                    <a:pt x="469" y="189"/>
                  </a:cubicBezTo>
                  <a:cubicBezTo>
                    <a:pt x="468" y="189"/>
                    <a:pt x="468" y="189"/>
                    <a:pt x="468" y="189"/>
                  </a:cubicBezTo>
                  <a:cubicBezTo>
                    <a:pt x="468" y="190"/>
                    <a:pt x="468" y="190"/>
                    <a:pt x="468" y="190"/>
                  </a:cubicBezTo>
                  <a:close/>
                  <a:moveTo>
                    <a:pt x="444" y="187"/>
                  </a:moveTo>
                  <a:cubicBezTo>
                    <a:pt x="443" y="188"/>
                    <a:pt x="442" y="189"/>
                    <a:pt x="441" y="190"/>
                  </a:cubicBezTo>
                  <a:cubicBezTo>
                    <a:pt x="440" y="191"/>
                    <a:pt x="440" y="193"/>
                    <a:pt x="439" y="194"/>
                  </a:cubicBezTo>
                  <a:cubicBezTo>
                    <a:pt x="438" y="195"/>
                    <a:pt x="437" y="196"/>
                    <a:pt x="436" y="197"/>
                  </a:cubicBezTo>
                  <a:cubicBezTo>
                    <a:pt x="436" y="198"/>
                    <a:pt x="435" y="199"/>
                    <a:pt x="434" y="200"/>
                  </a:cubicBezTo>
                  <a:cubicBezTo>
                    <a:pt x="432" y="202"/>
                    <a:pt x="430" y="205"/>
                    <a:pt x="428" y="207"/>
                  </a:cubicBezTo>
                  <a:cubicBezTo>
                    <a:pt x="428" y="208"/>
                    <a:pt x="427" y="209"/>
                    <a:pt x="426" y="210"/>
                  </a:cubicBezTo>
                  <a:cubicBezTo>
                    <a:pt x="426" y="210"/>
                    <a:pt x="425" y="211"/>
                    <a:pt x="425" y="211"/>
                  </a:cubicBezTo>
                  <a:cubicBezTo>
                    <a:pt x="425" y="212"/>
                    <a:pt x="426" y="212"/>
                    <a:pt x="426" y="213"/>
                  </a:cubicBezTo>
                  <a:cubicBezTo>
                    <a:pt x="428" y="213"/>
                    <a:pt x="428" y="212"/>
                    <a:pt x="429" y="211"/>
                  </a:cubicBezTo>
                  <a:cubicBezTo>
                    <a:pt x="429" y="210"/>
                    <a:pt x="430" y="209"/>
                    <a:pt x="430" y="209"/>
                  </a:cubicBezTo>
                  <a:cubicBezTo>
                    <a:pt x="431" y="208"/>
                    <a:pt x="431" y="207"/>
                    <a:pt x="432" y="207"/>
                  </a:cubicBezTo>
                  <a:cubicBezTo>
                    <a:pt x="432" y="206"/>
                    <a:pt x="432" y="206"/>
                    <a:pt x="433" y="206"/>
                  </a:cubicBezTo>
                  <a:cubicBezTo>
                    <a:pt x="433" y="206"/>
                    <a:pt x="433" y="205"/>
                    <a:pt x="433" y="205"/>
                  </a:cubicBezTo>
                  <a:cubicBezTo>
                    <a:pt x="437" y="200"/>
                    <a:pt x="440" y="196"/>
                    <a:pt x="444" y="191"/>
                  </a:cubicBezTo>
                  <a:cubicBezTo>
                    <a:pt x="444" y="190"/>
                    <a:pt x="446" y="190"/>
                    <a:pt x="446" y="188"/>
                  </a:cubicBezTo>
                  <a:cubicBezTo>
                    <a:pt x="446" y="187"/>
                    <a:pt x="445" y="187"/>
                    <a:pt x="445" y="186"/>
                  </a:cubicBezTo>
                  <a:cubicBezTo>
                    <a:pt x="445" y="187"/>
                    <a:pt x="444" y="187"/>
                    <a:pt x="444" y="187"/>
                  </a:cubicBezTo>
                  <a:close/>
                  <a:moveTo>
                    <a:pt x="60" y="223"/>
                  </a:moveTo>
                  <a:cubicBezTo>
                    <a:pt x="66" y="224"/>
                    <a:pt x="72" y="230"/>
                    <a:pt x="79" y="228"/>
                  </a:cubicBezTo>
                  <a:cubicBezTo>
                    <a:pt x="80" y="227"/>
                    <a:pt x="81" y="226"/>
                    <a:pt x="81" y="226"/>
                  </a:cubicBezTo>
                  <a:cubicBezTo>
                    <a:pt x="81" y="226"/>
                    <a:pt x="82" y="226"/>
                    <a:pt x="82" y="226"/>
                  </a:cubicBezTo>
                  <a:cubicBezTo>
                    <a:pt x="82" y="226"/>
                    <a:pt x="83" y="225"/>
                    <a:pt x="83" y="225"/>
                  </a:cubicBezTo>
                  <a:cubicBezTo>
                    <a:pt x="83" y="225"/>
                    <a:pt x="84" y="225"/>
                    <a:pt x="84" y="225"/>
                  </a:cubicBezTo>
                  <a:cubicBezTo>
                    <a:pt x="85" y="223"/>
                    <a:pt x="87" y="220"/>
                    <a:pt x="88" y="218"/>
                  </a:cubicBezTo>
                  <a:cubicBezTo>
                    <a:pt x="89" y="215"/>
                    <a:pt x="91" y="212"/>
                    <a:pt x="91" y="210"/>
                  </a:cubicBezTo>
                  <a:cubicBezTo>
                    <a:pt x="92" y="198"/>
                    <a:pt x="83" y="196"/>
                    <a:pt x="76" y="193"/>
                  </a:cubicBezTo>
                  <a:cubicBezTo>
                    <a:pt x="70" y="190"/>
                    <a:pt x="66" y="188"/>
                    <a:pt x="61" y="185"/>
                  </a:cubicBezTo>
                  <a:cubicBezTo>
                    <a:pt x="60" y="185"/>
                    <a:pt x="60" y="185"/>
                    <a:pt x="60" y="185"/>
                  </a:cubicBezTo>
                  <a:cubicBezTo>
                    <a:pt x="59" y="187"/>
                    <a:pt x="58" y="191"/>
                    <a:pt x="56" y="193"/>
                  </a:cubicBezTo>
                  <a:cubicBezTo>
                    <a:pt x="61" y="195"/>
                    <a:pt x="65" y="197"/>
                    <a:pt x="71" y="199"/>
                  </a:cubicBezTo>
                  <a:cubicBezTo>
                    <a:pt x="74" y="201"/>
                    <a:pt x="83" y="204"/>
                    <a:pt x="84" y="208"/>
                  </a:cubicBezTo>
                  <a:cubicBezTo>
                    <a:pt x="85" y="212"/>
                    <a:pt x="82" y="216"/>
                    <a:pt x="81" y="217"/>
                  </a:cubicBezTo>
                  <a:cubicBezTo>
                    <a:pt x="81" y="217"/>
                    <a:pt x="81" y="217"/>
                    <a:pt x="80" y="218"/>
                  </a:cubicBezTo>
                  <a:cubicBezTo>
                    <a:pt x="80" y="218"/>
                    <a:pt x="80" y="218"/>
                    <a:pt x="79" y="218"/>
                  </a:cubicBezTo>
                  <a:cubicBezTo>
                    <a:pt x="79" y="218"/>
                    <a:pt x="79" y="219"/>
                    <a:pt x="78" y="219"/>
                  </a:cubicBezTo>
                  <a:cubicBezTo>
                    <a:pt x="78" y="219"/>
                    <a:pt x="76" y="220"/>
                    <a:pt x="76" y="220"/>
                  </a:cubicBezTo>
                  <a:cubicBezTo>
                    <a:pt x="74" y="220"/>
                    <a:pt x="71" y="218"/>
                    <a:pt x="69" y="217"/>
                  </a:cubicBezTo>
                  <a:cubicBezTo>
                    <a:pt x="68" y="217"/>
                    <a:pt x="67" y="216"/>
                    <a:pt x="66" y="216"/>
                  </a:cubicBezTo>
                  <a:cubicBezTo>
                    <a:pt x="60" y="213"/>
                    <a:pt x="54" y="210"/>
                    <a:pt x="50" y="208"/>
                  </a:cubicBezTo>
                  <a:cubicBezTo>
                    <a:pt x="48" y="211"/>
                    <a:pt x="47" y="213"/>
                    <a:pt x="46" y="216"/>
                  </a:cubicBezTo>
                  <a:cubicBezTo>
                    <a:pt x="51" y="218"/>
                    <a:pt x="56" y="220"/>
                    <a:pt x="60" y="223"/>
                  </a:cubicBezTo>
                  <a:close/>
                  <a:moveTo>
                    <a:pt x="431" y="184"/>
                  </a:moveTo>
                  <a:cubicBezTo>
                    <a:pt x="432" y="184"/>
                    <a:pt x="432" y="184"/>
                    <a:pt x="432" y="184"/>
                  </a:cubicBezTo>
                  <a:cubicBezTo>
                    <a:pt x="434" y="184"/>
                    <a:pt x="432" y="186"/>
                    <a:pt x="433" y="186"/>
                  </a:cubicBezTo>
                  <a:cubicBezTo>
                    <a:pt x="432" y="187"/>
                    <a:pt x="430" y="187"/>
                    <a:pt x="428" y="188"/>
                  </a:cubicBezTo>
                  <a:cubicBezTo>
                    <a:pt x="424" y="188"/>
                    <a:pt x="420" y="190"/>
                    <a:pt x="416" y="190"/>
                  </a:cubicBezTo>
                  <a:cubicBezTo>
                    <a:pt x="414" y="191"/>
                    <a:pt x="412" y="191"/>
                    <a:pt x="410" y="190"/>
                  </a:cubicBezTo>
                  <a:cubicBezTo>
                    <a:pt x="411" y="189"/>
                    <a:pt x="413" y="189"/>
                    <a:pt x="415" y="188"/>
                  </a:cubicBezTo>
                  <a:cubicBezTo>
                    <a:pt x="420" y="187"/>
                    <a:pt x="426" y="186"/>
                    <a:pt x="431" y="184"/>
                  </a:cubicBezTo>
                  <a:close/>
                  <a:moveTo>
                    <a:pt x="403" y="181"/>
                  </a:moveTo>
                  <a:cubicBezTo>
                    <a:pt x="339" y="181"/>
                    <a:pt x="339" y="181"/>
                    <a:pt x="339" y="181"/>
                  </a:cubicBezTo>
                  <a:cubicBezTo>
                    <a:pt x="338" y="181"/>
                    <a:pt x="338" y="181"/>
                    <a:pt x="338" y="182"/>
                  </a:cubicBezTo>
                  <a:cubicBezTo>
                    <a:pt x="337" y="184"/>
                    <a:pt x="340" y="183"/>
                    <a:pt x="342" y="183"/>
                  </a:cubicBezTo>
                  <a:cubicBezTo>
                    <a:pt x="404" y="183"/>
                    <a:pt x="404" y="183"/>
                    <a:pt x="404" y="183"/>
                  </a:cubicBezTo>
                  <a:cubicBezTo>
                    <a:pt x="405" y="183"/>
                    <a:pt x="407" y="184"/>
                    <a:pt x="407" y="182"/>
                  </a:cubicBezTo>
                  <a:cubicBezTo>
                    <a:pt x="407" y="180"/>
                    <a:pt x="404" y="181"/>
                    <a:pt x="403" y="181"/>
                  </a:cubicBezTo>
                  <a:close/>
                  <a:moveTo>
                    <a:pt x="577" y="207"/>
                  </a:moveTo>
                  <a:cubicBezTo>
                    <a:pt x="575" y="206"/>
                    <a:pt x="572" y="204"/>
                    <a:pt x="570" y="201"/>
                  </a:cubicBezTo>
                  <a:cubicBezTo>
                    <a:pt x="569" y="210"/>
                    <a:pt x="565" y="215"/>
                    <a:pt x="562" y="221"/>
                  </a:cubicBezTo>
                  <a:cubicBezTo>
                    <a:pt x="560" y="219"/>
                    <a:pt x="559" y="216"/>
                    <a:pt x="557" y="213"/>
                  </a:cubicBezTo>
                  <a:cubicBezTo>
                    <a:pt x="558" y="210"/>
                    <a:pt x="560" y="207"/>
                    <a:pt x="561" y="204"/>
                  </a:cubicBezTo>
                  <a:cubicBezTo>
                    <a:pt x="563" y="201"/>
                    <a:pt x="565" y="198"/>
                    <a:pt x="565" y="195"/>
                  </a:cubicBezTo>
                  <a:cubicBezTo>
                    <a:pt x="565" y="192"/>
                    <a:pt x="563" y="191"/>
                    <a:pt x="562" y="188"/>
                  </a:cubicBezTo>
                  <a:cubicBezTo>
                    <a:pt x="558" y="191"/>
                    <a:pt x="553" y="193"/>
                    <a:pt x="548" y="196"/>
                  </a:cubicBezTo>
                  <a:cubicBezTo>
                    <a:pt x="547" y="193"/>
                    <a:pt x="546" y="190"/>
                    <a:pt x="544" y="188"/>
                  </a:cubicBezTo>
                  <a:cubicBezTo>
                    <a:pt x="546" y="186"/>
                    <a:pt x="549" y="185"/>
                    <a:pt x="552" y="184"/>
                  </a:cubicBezTo>
                  <a:cubicBezTo>
                    <a:pt x="555" y="182"/>
                    <a:pt x="558" y="181"/>
                    <a:pt x="560" y="180"/>
                  </a:cubicBezTo>
                  <a:cubicBezTo>
                    <a:pt x="561" y="179"/>
                    <a:pt x="561" y="179"/>
                    <a:pt x="562" y="179"/>
                  </a:cubicBezTo>
                  <a:cubicBezTo>
                    <a:pt x="566" y="176"/>
                    <a:pt x="572" y="174"/>
                    <a:pt x="577" y="171"/>
                  </a:cubicBezTo>
                  <a:cubicBezTo>
                    <a:pt x="577" y="171"/>
                    <a:pt x="577" y="170"/>
                    <a:pt x="578" y="170"/>
                  </a:cubicBezTo>
                  <a:cubicBezTo>
                    <a:pt x="578" y="170"/>
                    <a:pt x="578" y="170"/>
                    <a:pt x="578" y="170"/>
                  </a:cubicBezTo>
                  <a:cubicBezTo>
                    <a:pt x="580" y="174"/>
                    <a:pt x="585" y="182"/>
                    <a:pt x="587" y="188"/>
                  </a:cubicBezTo>
                  <a:cubicBezTo>
                    <a:pt x="589" y="192"/>
                    <a:pt x="592" y="197"/>
                    <a:pt x="589" y="202"/>
                  </a:cubicBezTo>
                  <a:cubicBezTo>
                    <a:pt x="587" y="205"/>
                    <a:pt x="583" y="208"/>
                    <a:pt x="577" y="207"/>
                  </a:cubicBezTo>
                  <a:close/>
                  <a:moveTo>
                    <a:pt x="404" y="172"/>
                  </a:moveTo>
                  <a:cubicBezTo>
                    <a:pt x="404" y="169"/>
                    <a:pt x="404" y="169"/>
                    <a:pt x="404" y="169"/>
                  </a:cubicBezTo>
                  <a:cubicBezTo>
                    <a:pt x="410" y="173"/>
                    <a:pt x="417" y="176"/>
                    <a:pt x="423" y="180"/>
                  </a:cubicBezTo>
                  <a:cubicBezTo>
                    <a:pt x="422" y="182"/>
                    <a:pt x="421" y="180"/>
                    <a:pt x="421" y="180"/>
                  </a:cubicBezTo>
                  <a:cubicBezTo>
                    <a:pt x="416" y="178"/>
                    <a:pt x="409" y="174"/>
                    <a:pt x="404" y="172"/>
                  </a:cubicBezTo>
                  <a:close/>
                  <a:moveTo>
                    <a:pt x="285" y="167"/>
                  </a:moveTo>
                  <a:cubicBezTo>
                    <a:pt x="281" y="172"/>
                    <a:pt x="286" y="179"/>
                    <a:pt x="292" y="178"/>
                  </a:cubicBezTo>
                  <a:cubicBezTo>
                    <a:pt x="295" y="178"/>
                    <a:pt x="298" y="175"/>
                    <a:pt x="297" y="170"/>
                  </a:cubicBezTo>
                  <a:cubicBezTo>
                    <a:pt x="297" y="166"/>
                    <a:pt x="293" y="164"/>
                    <a:pt x="289" y="165"/>
                  </a:cubicBezTo>
                  <a:cubicBezTo>
                    <a:pt x="287" y="165"/>
                    <a:pt x="286" y="166"/>
                    <a:pt x="285" y="167"/>
                  </a:cubicBezTo>
                  <a:close/>
                  <a:moveTo>
                    <a:pt x="228" y="161"/>
                  </a:moveTo>
                  <a:cubicBezTo>
                    <a:pt x="230" y="162"/>
                    <a:pt x="233" y="164"/>
                    <a:pt x="235" y="164"/>
                  </a:cubicBezTo>
                  <a:cubicBezTo>
                    <a:pt x="235" y="165"/>
                    <a:pt x="236" y="165"/>
                    <a:pt x="236" y="165"/>
                  </a:cubicBezTo>
                  <a:cubicBezTo>
                    <a:pt x="237" y="165"/>
                    <a:pt x="238" y="166"/>
                    <a:pt x="239" y="166"/>
                  </a:cubicBezTo>
                  <a:cubicBezTo>
                    <a:pt x="240" y="167"/>
                    <a:pt x="241" y="167"/>
                    <a:pt x="242" y="167"/>
                  </a:cubicBezTo>
                  <a:cubicBezTo>
                    <a:pt x="243" y="167"/>
                    <a:pt x="244" y="168"/>
                    <a:pt x="244" y="169"/>
                  </a:cubicBezTo>
                  <a:cubicBezTo>
                    <a:pt x="245" y="169"/>
                    <a:pt x="247" y="169"/>
                    <a:pt x="248" y="170"/>
                  </a:cubicBezTo>
                  <a:cubicBezTo>
                    <a:pt x="248" y="170"/>
                    <a:pt x="250" y="171"/>
                    <a:pt x="250" y="170"/>
                  </a:cubicBezTo>
                  <a:cubicBezTo>
                    <a:pt x="243" y="166"/>
                    <a:pt x="235" y="164"/>
                    <a:pt x="228" y="160"/>
                  </a:cubicBezTo>
                  <a:cubicBezTo>
                    <a:pt x="227" y="160"/>
                    <a:pt x="227" y="160"/>
                    <a:pt x="227" y="160"/>
                  </a:cubicBezTo>
                  <a:cubicBezTo>
                    <a:pt x="227" y="161"/>
                    <a:pt x="227" y="161"/>
                    <a:pt x="228" y="161"/>
                  </a:cubicBezTo>
                  <a:close/>
                  <a:moveTo>
                    <a:pt x="396" y="173"/>
                  </a:moveTo>
                  <a:cubicBezTo>
                    <a:pt x="396" y="175"/>
                    <a:pt x="396" y="177"/>
                    <a:pt x="397" y="178"/>
                  </a:cubicBezTo>
                  <a:cubicBezTo>
                    <a:pt x="398" y="175"/>
                    <a:pt x="397" y="172"/>
                    <a:pt x="396" y="169"/>
                  </a:cubicBezTo>
                  <a:cubicBezTo>
                    <a:pt x="396" y="167"/>
                    <a:pt x="396" y="166"/>
                    <a:pt x="396" y="164"/>
                  </a:cubicBezTo>
                  <a:cubicBezTo>
                    <a:pt x="396" y="163"/>
                    <a:pt x="396" y="161"/>
                    <a:pt x="395" y="160"/>
                  </a:cubicBezTo>
                  <a:cubicBezTo>
                    <a:pt x="395" y="164"/>
                    <a:pt x="396" y="169"/>
                    <a:pt x="396" y="173"/>
                  </a:cubicBezTo>
                  <a:close/>
                  <a:moveTo>
                    <a:pt x="86" y="145"/>
                  </a:moveTo>
                  <a:cubicBezTo>
                    <a:pt x="97" y="152"/>
                    <a:pt x="107" y="159"/>
                    <a:pt x="118" y="166"/>
                  </a:cubicBezTo>
                  <a:cubicBezTo>
                    <a:pt x="117" y="168"/>
                    <a:pt x="115" y="170"/>
                    <a:pt x="113" y="173"/>
                  </a:cubicBezTo>
                  <a:cubicBezTo>
                    <a:pt x="104" y="173"/>
                    <a:pt x="93" y="173"/>
                    <a:pt x="83" y="173"/>
                  </a:cubicBezTo>
                  <a:cubicBezTo>
                    <a:pt x="84" y="175"/>
                    <a:pt x="86" y="175"/>
                    <a:pt x="87" y="176"/>
                  </a:cubicBezTo>
                  <a:cubicBezTo>
                    <a:pt x="87" y="176"/>
                    <a:pt x="88" y="177"/>
                    <a:pt x="88" y="177"/>
                  </a:cubicBezTo>
                  <a:cubicBezTo>
                    <a:pt x="93" y="179"/>
                    <a:pt x="98" y="184"/>
                    <a:pt x="104" y="187"/>
                  </a:cubicBezTo>
                  <a:cubicBezTo>
                    <a:pt x="102" y="190"/>
                    <a:pt x="101" y="191"/>
                    <a:pt x="99" y="194"/>
                  </a:cubicBezTo>
                  <a:cubicBezTo>
                    <a:pt x="98" y="194"/>
                    <a:pt x="98" y="193"/>
                    <a:pt x="97" y="193"/>
                  </a:cubicBezTo>
                  <a:cubicBezTo>
                    <a:pt x="96" y="192"/>
                    <a:pt x="94" y="190"/>
                    <a:pt x="92" y="189"/>
                  </a:cubicBezTo>
                  <a:cubicBezTo>
                    <a:pt x="91" y="189"/>
                    <a:pt x="90" y="188"/>
                    <a:pt x="89" y="187"/>
                  </a:cubicBezTo>
                  <a:cubicBezTo>
                    <a:pt x="88" y="186"/>
                    <a:pt x="87" y="186"/>
                    <a:pt x="85" y="185"/>
                  </a:cubicBezTo>
                  <a:cubicBezTo>
                    <a:pt x="84" y="184"/>
                    <a:pt x="84" y="183"/>
                    <a:pt x="83" y="183"/>
                  </a:cubicBezTo>
                  <a:cubicBezTo>
                    <a:pt x="83" y="183"/>
                    <a:pt x="82" y="182"/>
                    <a:pt x="81" y="182"/>
                  </a:cubicBezTo>
                  <a:cubicBezTo>
                    <a:pt x="81" y="181"/>
                    <a:pt x="80" y="181"/>
                    <a:pt x="79" y="180"/>
                  </a:cubicBezTo>
                  <a:cubicBezTo>
                    <a:pt x="79" y="180"/>
                    <a:pt x="78" y="180"/>
                    <a:pt x="77" y="179"/>
                  </a:cubicBezTo>
                  <a:cubicBezTo>
                    <a:pt x="76" y="179"/>
                    <a:pt x="76" y="178"/>
                    <a:pt x="75" y="178"/>
                  </a:cubicBezTo>
                  <a:cubicBezTo>
                    <a:pt x="75" y="177"/>
                    <a:pt x="74" y="177"/>
                    <a:pt x="73" y="177"/>
                  </a:cubicBezTo>
                  <a:cubicBezTo>
                    <a:pt x="71" y="175"/>
                    <a:pt x="69" y="174"/>
                    <a:pt x="67" y="172"/>
                  </a:cubicBezTo>
                  <a:cubicBezTo>
                    <a:pt x="69" y="170"/>
                    <a:pt x="70" y="168"/>
                    <a:pt x="72" y="166"/>
                  </a:cubicBezTo>
                  <a:cubicBezTo>
                    <a:pt x="102" y="166"/>
                    <a:pt x="102" y="166"/>
                    <a:pt x="102" y="166"/>
                  </a:cubicBezTo>
                  <a:cubicBezTo>
                    <a:pt x="103" y="165"/>
                    <a:pt x="102" y="165"/>
                    <a:pt x="101" y="164"/>
                  </a:cubicBezTo>
                  <a:cubicBezTo>
                    <a:pt x="100" y="164"/>
                    <a:pt x="100" y="163"/>
                    <a:pt x="99" y="162"/>
                  </a:cubicBezTo>
                  <a:cubicBezTo>
                    <a:pt x="97" y="162"/>
                    <a:pt x="96" y="161"/>
                    <a:pt x="94" y="160"/>
                  </a:cubicBezTo>
                  <a:cubicBezTo>
                    <a:pt x="93" y="159"/>
                    <a:pt x="92" y="158"/>
                    <a:pt x="91" y="157"/>
                  </a:cubicBezTo>
                  <a:cubicBezTo>
                    <a:pt x="88" y="155"/>
                    <a:pt x="85" y="153"/>
                    <a:pt x="82" y="151"/>
                  </a:cubicBezTo>
                  <a:cubicBezTo>
                    <a:pt x="83" y="149"/>
                    <a:pt x="84" y="147"/>
                    <a:pt x="86" y="145"/>
                  </a:cubicBezTo>
                  <a:cubicBezTo>
                    <a:pt x="86" y="145"/>
                    <a:pt x="86" y="145"/>
                    <a:pt x="86" y="145"/>
                  </a:cubicBezTo>
                  <a:close/>
                  <a:moveTo>
                    <a:pt x="240" y="142"/>
                  </a:moveTo>
                  <a:cubicBezTo>
                    <a:pt x="239" y="142"/>
                    <a:pt x="240" y="141"/>
                    <a:pt x="240" y="142"/>
                  </a:cubicBezTo>
                  <a:cubicBezTo>
                    <a:pt x="243" y="142"/>
                    <a:pt x="244" y="144"/>
                    <a:pt x="246" y="146"/>
                  </a:cubicBezTo>
                  <a:cubicBezTo>
                    <a:pt x="250" y="151"/>
                    <a:pt x="250" y="151"/>
                    <a:pt x="250" y="151"/>
                  </a:cubicBezTo>
                  <a:cubicBezTo>
                    <a:pt x="253" y="153"/>
                    <a:pt x="256" y="155"/>
                    <a:pt x="257" y="157"/>
                  </a:cubicBezTo>
                  <a:cubicBezTo>
                    <a:pt x="258" y="158"/>
                    <a:pt x="259" y="159"/>
                    <a:pt x="259" y="160"/>
                  </a:cubicBezTo>
                  <a:cubicBezTo>
                    <a:pt x="258" y="161"/>
                    <a:pt x="257" y="160"/>
                    <a:pt x="256" y="159"/>
                  </a:cubicBezTo>
                  <a:cubicBezTo>
                    <a:pt x="251" y="153"/>
                    <a:pt x="245" y="148"/>
                    <a:pt x="240" y="142"/>
                  </a:cubicBezTo>
                  <a:close/>
                  <a:moveTo>
                    <a:pt x="552" y="134"/>
                  </a:moveTo>
                  <a:cubicBezTo>
                    <a:pt x="551" y="135"/>
                    <a:pt x="549" y="136"/>
                    <a:pt x="547" y="137"/>
                  </a:cubicBezTo>
                  <a:cubicBezTo>
                    <a:pt x="549" y="141"/>
                    <a:pt x="553" y="144"/>
                    <a:pt x="555" y="148"/>
                  </a:cubicBezTo>
                  <a:cubicBezTo>
                    <a:pt x="546" y="154"/>
                    <a:pt x="538" y="161"/>
                    <a:pt x="529" y="167"/>
                  </a:cubicBezTo>
                  <a:cubicBezTo>
                    <a:pt x="530" y="169"/>
                    <a:pt x="533" y="171"/>
                    <a:pt x="534" y="174"/>
                  </a:cubicBezTo>
                  <a:cubicBezTo>
                    <a:pt x="536" y="172"/>
                    <a:pt x="538" y="170"/>
                    <a:pt x="540" y="169"/>
                  </a:cubicBezTo>
                  <a:cubicBezTo>
                    <a:pt x="542" y="167"/>
                    <a:pt x="545" y="166"/>
                    <a:pt x="547" y="164"/>
                  </a:cubicBezTo>
                  <a:cubicBezTo>
                    <a:pt x="552" y="161"/>
                    <a:pt x="555" y="157"/>
                    <a:pt x="560" y="155"/>
                  </a:cubicBezTo>
                  <a:cubicBezTo>
                    <a:pt x="563" y="158"/>
                    <a:pt x="565" y="162"/>
                    <a:pt x="568" y="165"/>
                  </a:cubicBezTo>
                  <a:cubicBezTo>
                    <a:pt x="569" y="163"/>
                    <a:pt x="571" y="163"/>
                    <a:pt x="572" y="161"/>
                  </a:cubicBezTo>
                  <a:cubicBezTo>
                    <a:pt x="566" y="152"/>
                    <a:pt x="559" y="143"/>
                    <a:pt x="552" y="134"/>
                  </a:cubicBezTo>
                  <a:close/>
                  <a:moveTo>
                    <a:pt x="260" y="133"/>
                  </a:moveTo>
                  <a:cubicBezTo>
                    <a:pt x="260" y="133"/>
                    <a:pt x="261" y="133"/>
                    <a:pt x="261" y="134"/>
                  </a:cubicBezTo>
                  <a:cubicBezTo>
                    <a:pt x="261" y="134"/>
                    <a:pt x="261" y="134"/>
                    <a:pt x="261" y="134"/>
                  </a:cubicBezTo>
                  <a:cubicBezTo>
                    <a:pt x="262" y="137"/>
                    <a:pt x="263" y="140"/>
                    <a:pt x="264" y="142"/>
                  </a:cubicBezTo>
                  <a:cubicBezTo>
                    <a:pt x="265" y="143"/>
                    <a:pt x="265" y="144"/>
                    <a:pt x="265" y="145"/>
                  </a:cubicBezTo>
                  <a:cubicBezTo>
                    <a:pt x="266" y="145"/>
                    <a:pt x="266" y="147"/>
                    <a:pt x="266" y="148"/>
                  </a:cubicBezTo>
                  <a:cubicBezTo>
                    <a:pt x="267" y="148"/>
                    <a:pt x="267" y="149"/>
                    <a:pt x="267" y="150"/>
                  </a:cubicBezTo>
                  <a:cubicBezTo>
                    <a:pt x="268" y="151"/>
                    <a:pt x="268" y="154"/>
                    <a:pt x="270" y="153"/>
                  </a:cubicBezTo>
                  <a:cubicBezTo>
                    <a:pt x="271" y="152"/>
                    <a:pt x="270" y="150"/>
                    <a:pt x="269" y="148"/>
                  </a:cubicBezTo>
                  <a:cubicBezTo>
                    <a:pt x="268" y="147"/>
                    <a:pt x="267" y="145"/>
                    <a:pt x="266" y="144"/>
                  </a:cubicBezTo>
                  <a:cubicBezTo>
                    <a:pt x="265" y="141"/>
                    <a:pt x="263" y="137"/>
                    <a:pt x="261" y="134"/>
                  </a:cubicBezTo>
                  <a:cubicBezTo>
                    <a:pt x="261" y="134"/>
                    <a:pt x="261" y="134"/>
                    <a:pt x="261" y="134"/>
                  </a:cubicBezTo>
                  <a:cubicBezTo>
                    <a:pt x="261" y="133"/>
                    <a:pt x="261" y="133"/>
                    <a:pt x="260" y="133"/>
                  </a:cubicBezTo>
                  <a:cubicBezTo>
                    <a:pt x="260" y="132"/>
                    <a:pt x="260" y="133"/>
                    <a:pt x="260" y="133"/>
                  </a:cubicBezTo>
                  <a:close/>
                  <a:moveTo>
                    <a:pt x="94" y="135"/>
                  </a:moveTo>
                  <a:cubicBezTo>
                    <a:pt x="97" y="137"/>
                    <a:pt x="99" y="139"/>
                    <a:pt x="101" y="141"/>
                  </a:cubicBezTo>
                  <a:cubicBezTo>
                    <a:pt x="103" y="142"/>
                    <a:pt x="104" y="143"/>
                    <a:pt x="105" y="144"/>
                  </a:cubicBezTo>
                  <a:cubicBezTo>
                    <a:pt x="106" y="145"/>
                    <a:pt x="107" y="146"/>
                    <a:pt x="109" y="147"/>
                  </a:cubicBezTo>
                  <a:cubicBezTo>
                    <a:pt x="109" y="147"/>
                    <a:pt x="109" y="147"/>
                    <a:pt x="110" y="148"/>
                  </a:cubicBezTo>
                  <a:cubicBezTo>
                    <a:pt x="110" y="148"/>
                    <a:pt x="110" y="149"/>
                    <a:pt x="110" y="149"/>
                  </a:cubicBezTo>
                  <a:cubicBezTo>
                    <a:pt x="111" y="149"/>
                    <a:pt x="111" y="149"/>
                    <a:pt x="112" y="149"/>
                  </a:cubicBezTo>
                  <a:cubicBezTo>
                    <a:pt x="112" y="149"/>
                    <a:pt x="112" y="150"/>
                    <a:pt x="112" y="150"/>
                  </a:cubicBezTo>
                  <a:cubicBezTo>
                    <a:pt x="114" y="151"/>
                    <a:pt x="115" y="152"/>
                    <a:pt x="116" y="153"/>
                  </a:cubicBezTo>
                  <a:cubicBezTo>
                    <a:pt x="117" y="154"/>
                    <a:pt x="119" y="155"/>
                    <a:pt x="120" y="156"/>
                  </a:cubicBezTo>
                  <a:cubicBezTo>
                    <a:pt x="121" y="157"/>
                    <a:pt x="122" y="159"/>
                    <a:pt x="124" y="159"/>
                  </a:cubicBezTo>
                  <a:cubicBezTo>
                    <a:pt x="125" y="157"/>
                    <a:pt x="127" y="155"/>
                    <a:pt x="129" y="153"/>
                  </a:cubicBezTo>
                  <a:cubicBezTo>
                    <a:pt x="129" y="152"/>
                    <a:pt x="128" y="152"/>
                    <a:pt x="127" y="152"/>
                  </a:cubicBezTo>
                  <a:cubicBezTo>
                    <a:pt x="127" y="151"/>
                    <a:pt x="126" y="150"/>
                    <a:pt x="125" y="150"/>
                  </a:cubicBezTo>
                  <a:cubicBezTo>
                    <a:pt x="121" y="146"/>
                    <a:pt x="117" y="143"/>
                    <a:pt x="113" y="139"/>
                  </a:cubicBezTo>
                  <a:cubicBezTo>
                    <a:pt x="108" y="136"/>
                    <a:pt x="104" y="132"/>
                    <a:pt x="100" y="129"/>
                  </a:cubicBezTo>
                  <a:cubicBezTo>
                    <a:pt x="100" y="128"/>
                    <a:pt x="100" y="128"/>
                    <a:pt x="99" y="128"/>
                  </a:cubicBezTo>
                  <a:cubicBezTo>
                    <a:pt x="98" y="131"/>
                    <a:pt x="96" y="132"/>
                    <a:pt x="94" y="135"/>
                  </a:cubicBezTo>
                  <a:close/>
                  <a:moveTo>
                    <a:pt x="282" y="125"/>
                  </a:moveTo>
                  <a:cubicBezTo>
                    <a:pt x="282" y="133"/>
                    <a:pt x="282" y="142"/>
                    <a:pt x="282" y="149"/>
                  </a:cubicBezTo>
                  <a:cubicBezTo>
                    <a:pt x="282" y="150"/>
                    <a:pt x="281" y="152"/>
                    <a:pt x="283" y="152"/>
                  </a:cubicBezTo>
                  <a:cubicBezTo>
                    <a:pt x="283" y="144"/>
                    <a:pt x="283" y="133"/>
                    <a:pt x="283" y="124"/>
                  </a:cubicBezTo>
                  <a:cubicBezTo>
                    <a:pt x="282" y="124"/>
                    <a:pt x="282" y="124"/>
                    <a:pt x="282" y="124"/>
                  </a:cubicBezTo>
                  <a:cubicBezTo>
                    <a:pt x="282" y="125"/>
                    <a:pt x="282" y="125"/>
                    <a:pt x="282" y="125"/>
                  </a:cubicBezTo>
                  <a:close/>
                  <a:moveTo>
                    <a:pt x="544" y="124"/>
                  </a:moveTo>
                  <a:cubicBezTo>
                    <a:pt x="545" y="125"/>
                    <a:pt x="546" y="125"/>
                    <a:pt x="546" y="127"/>
                  </a:cubicBezTo>
                  <a:cubicBezTo>
                    <a:pt x="544" y="127"/>
                    <a:pt x="543" y="129"/>
                    <a:pt x="542" y="131"/>
                  </a:cubicBezTo>
                  <a:cubicBezTo>
                    <a:pt x="539" y="129"/>
                    <a:pt x="537" y="126"/>
                    <a:pt x="533" y="123"/>
                  </a:cubicBezTo>
                  <a:cubicBezTo>
                    <a:pt x="532" y="121"/>
                    <a:pt x="530" y="119"/>
                    <a:pt x="527" y="116"/>
                  </a:cubicBezTo>
                  <a:cubicBezTo>
                    <a:pt x="527" y="116"/>
                    <a:pt x="525" y="115"/>
                    <a:pt x="525" y="115"/>
                  </a:cubicBezTo>
                  <a:cubicBezTo>
                    <a:pt x="524" y="114"/>
                    <a:pt x="523" y="117"/>
                    <a:pt x="522" y="118"/>
                  </a:cubicBezTo>
                  <a:cubicBezTo>
                    <a:pt x="521" y="119"/>
                    <a:pt x="520" y="119"/>
                    <a:pt x="519" y="121"/>
                  </a:cubicBezTo>
                  <a:cubicBezTo>
                    <a:pt x="524" y="126"/>
                    <a:pt x="529" y="130"/>
                    <a:pt x="534" y="135"/>
                  </a:cubicBezTo>
                  <a:cubicBezTo>
                    <a:pt x="533" y="137"/>
                    <a:pt x="531" y="139"/>
                    <a:pt x="529" y="140"/>
                  </a:cubicBezTo>
                  <a:cubicBezTo>
                    <a:pt x="527" y="137"/>
                    <a:pt x="522" y="133"/>
                    <a:pt x="518" y="129"/>
                  </a:cubicBezTo>
                  <a:cubicBezTo>
                    <a:pt x="517" y="128"/>
                    <a:pt x="515" y="125"/>
                    <a:pt x="515" y="125"/>
                  </a:cubicBezTo>
                  <a:cubicBezTo>
                    <a:pt x="514" y="125"/>
                    <a:pt x="512" y="128"/>
                    <a:pt x="511" y="129"/>
                  </a:cubicBezTo>
                  <a:cubicBezTo>
                    <a:pt x="509" y="130"/>
                    <a:pt x="508" y="131"/>
                    <a:pt x="507" y="132"/>
                  </a:cubicBezTo>
                  <a:cubicBezTo>
                    <a:pt x="508" y="134"/>
                    <a:pt x="510" y="135"/>
                    <a:pt x="511" y="137"/>
                  </a:cubicBezTo>
                  <a:cubicBezTo>
                    <a:pt x="515" y="141"/>
                    <a:pt x="519" y="145"/>
                    <a:pt x="524" y="149"/>
                  </a:cubicBezTo>
                  <a:cubicBezTo>
                    <a:pt x="523" y="151"/>
                    <a:pt x="520" y="152"/>
                    <a:pt x="519" y="154"/>
                  </a:cubicBezTo>
                  <a:cubicBezTo>
                    <a:pt x="513" y="148"/>
                    <a:pt x="507" y="141"/>
                    <a:pt x="500" y="134"/>
                  </a:cubicBezTo>
                  <a:cubicBezTo>
                    <a:pt x="499" y="133"/>
                    <a:pt x="496" y="131"/>
                    <a:pt x="496" y="131"/>
                  </a:cubicBezTo>
                  <a:cubicBezTo>
                    <a:pt x="496" y="131"/>
                    <a:pt x="501" y="126"/>
                    <a:pt x="503" y="124"/>
                  </a:cubicBezTo>
                  <a:cubicBezTo>
                    <a:pt x="505" y="122"/>
                    <a:pt x="508" y="120"/>
                    <a:pt x="509" y="118"/>
                  </a:cubicBezTo>
                  <a:cubicBezTo>
                    <a:pt x="515" y="112"/>
                    <a:pt x="519" y="109"/>
                    <a:pt x="524" y="104"/>
                  </a:cubicBezTo>
                  <a:cubicBezTo>
                    <a:pt x="524" y="104"/>
                    <a:pt x="524" y="105"/>
                    <a:pt x="525" y="105"/>
                  </a:cubicBezTo>
                  <a:cubicBezTo>
                    <a:pt x="531" y="111"/>
                    <a:pt x="537" y="117"/>
                    <a:pt x="544" y="124"/>
                  </a:cubicBezTo>
                  <a:close/>
                  <a:moveTo>
                    <a:pt x="133" y="95"/>
                  </a:moveTo>
                  <a:cubicBezTo>
                    <a:pt x="138" y="107"/>
                    <a:pt x="143" y="121"/>
                    <a:pt x="149" y="133"/>
                  </a:cubicBezTo>
                  <a:cubicBezTo>
                    <a:pt x="147" y="135"/>
                    <a:pt x="144" y="137"/>
                    <a:pt x="142" y="139"/>
                  </a:cubicBezTo>
                  <a:cubicBezTo>
                    <a:pt x="133" y="136"/>
                    <a:pt x="125" y="131"/>
                    <a:pt x="116" y="127"/>
                  </a:cubicBezTo>
                  <a:cubicBezTo>
                    <a:pt x="115" y="127"/>
                    <a:pt x="115" y="127"/>
                    <a:pt x="114" y="127"/>
                  </a:cubicBezTo>
                  <a:cubicBezTo>
                    <a:pt x="111" y="125"/>
                    <a:pt x="108" y="123"/>
                    <a:pt x="105" y="123"/>
                  </a:cubicBezTo>
                  <a:cubicBezTo>
                    <a:pt x="104" y="121"/>
                    <a:pt x="107" y="120"/>
                    <a:pt x="107" y="119"/>
                  </a:cubicBezTo>
                  <a:cubicBezTo>
                    <a:pt x="109" y="118"/>
                    <a:pt x="110" y="117"/>
                    <a:pt x="111" y="116"/>
                  </a:cubicBezTo>
                  <a:cubicBezTo>
                    <a:pt x="120" y="120"/>
                    <a:pt x="129" y="124"/>
                    <a:pt x="138" y="129"/>
                  </a:cubicBezTo>
                  <a:cubicBezTo>
                    <a:pt x="139" y="128"/>
                    <a:pt x="137" y="126"/>
                    <a:pt x="137" y="125"/>
                  </a:cubicBezTo>
                  <a:cubicBezTo>
                    <a:pt x="133" y="118"/>
                    <a:pt x="130" y="109"/>
                    <a:pt x="126" y="102"/>
                  </a:cubicBezTo>
                  <a:cubicBezTo>
                    <a:pt x="127" y="100"/>
                    <a:pt x="128" y="100"/>
                    <a:pt x="129" y="99"/>
                  </a:cubicBezTo>
                  <a:cubicBezTo>
                    <a:pt x="130" y="98"/>
                    <a:pt x="130" y="96"/>
                    <a:pt x="132" y="96"/>
                  </a:cubicBezTo>
                  <a:cubicBezTo>
                    <a:pt x="132" y="96"/>
                    <a:pt x="132" y="95"/>
                    <a:pt x="133" y="95"/>
                  </a:cubicBezTo>
                  <a:close/>
                  <a:moveTo>
                    <a:pt x="452" y="193"/>
                  </a:moveTo>
                  <a:cubicBezTo>
                    <a:pt x="448" y="204"/>
                    <a:pt x="444" y="215"/>
                    <a:pt x="441" y="226"/>
                  </a:cubicBezTo>
                  <a:cubicBezTo>
                    <a:pt x="442" y="228"/>
                    <a:pt x="444" y="229"/>
                    <a:pt x="445" y="229"/>
                  </a:cubicBezTo>
                  <a:cubicBezTo>
                    <a:pt x="447" y="230"/>
                    <a:pt x="450" y="231"/>
                    <a:pt x="452" y="231"/>
                  </a:cubicBezTo>
                  <a:cubicBezTo>
                    <a:pt x="454" y="228"/>
                    <a:pt x="455" y="225"/>
                    <a:pt x="456" y="221"/>
                  </a:cubicBezTo>
                  <a:cubicBezTo>
                    <a:pt x="459" y="212"/>
                    <a:pt x="462" y="203"/>
                    <a:pt x="465" y="193"/>
                  </a:cubicBezTo>
                  <a:cubicBezTo>
                    <a:pt x="466" y="199"/>
                    <a:pt x="465" y="206"/>
                    <a:pt x="465" y="213"/>
                  </a:cubicBezTo>
                  <a:cubicBezTo>
                    <a:pt x="465" y="234"/>
                    <a:pt x="465" y="234"/>
                    <a:pt x="465" y="234"/>
                  </a:cubicBezTo>
                  <a:cubicBezTo>
                    <a:pt x="467" y="236"/>
                    <a:pt x="475" y="236"/>
                    <a:pt x="478" y="235"/>
                  </a:cubicBezTo>
                  <a:cubicBezTo>
                    <a:pt x="479" y="221"/>
                    <a:pt x="478" y="206"/>
                    <a:pt x="478" y="192"/>
                  </a:cubicBezTo>
                  <a:cubicBezTo>
                    <a:pt x="483" y="192"/>
                    <a:pt x="483" y="192"/>
                    <a:pt x="483" y="192"/>
                  </a:cubicBezTo>
                  <a:cubicBezTo>
                    <a:pt x="483" y="183"/>
                    <a:pt x="483" y="183"/>
                    <a:pt x="483" y="183"/>
                  </a:cubicBezTo>
                  <a:cubicBezTo>
                    <a:pt x="468" y="183"/>
                    <a:pt x="451" y="184"/>
                    <a:pt x="437" y="183"/>
                  </a:cubicBezTo>
                  <a:cubicBezTo>
                    <a:pt x="436" y="183"/>
                    <a:pt x="434" y="184"/>
                    <a:pt x="434" y="182"/>
                  </a:cubicBezTo>
                  <a:cubicBezTo>
                    <a:pt x="434" y="181"/>
                    <a:pt x="434" y="180"/>
                    <a:pt x="436" y="181"/>
                  </a:cubicBezTo>
                  <a:cubicBezTo>
                    <a:pt x="439" y="181"/>
                    <a:pt x="439" y="181"/>
                    <a:pt x="439" y="181"/>
                  </a:cubicBezTo>
                  <a:cubicBezTo>
                    <a:pt x="453" y="181"/>
                    <a:pt x="469" y="181"/>
                    <a:pt x="483" y="180"/>
                  </a:cubicBezTo>
                  <a:cubicBezTo>
                    <a:pt x="483" y="178"/>
                    <a:pt x="483" y="178"/>
                    <a:pt x="483" y="178"/>
                  </a:cubicBezTo>
                  <a:cubicBezTo>
                    <a:pt x="483" y="177"/>
                    <a:pt x="481" y="178"/>
                    <a:pt x="481" y="178"/>
                  </a:cubicBezTo>
                  <a:cubicBezTo>
                    <a:pt x="473" y="177"/>
                    <a:pt x="466" y="178"/>
                    <a:pt x="459" y="178"/>
                  </a:cubicBezTo>
                  <a:cubicBezTo>
                    <a:pt x="450" y="178"/>
                    <a:pt x="441" y="178"/>
                    <a:pt x="433" y="178"/>
                  </a:cubicBezTo>
                  <a:cubicBezTo>
                    <a:pt x="428" y="177"/>
                    <a:pt x="423" y="175"/>
                    <a:pt x="419" y="174"/>
                  </a:cubicBezTo>
                  <a:cubicBezTo>
                    <a:pt x="418" y="173"/>
                    <a:pt x="417" y="173"/>
                    <a:pt x="416" y="172"/>
                  </a:cubicBezTo>
                  <a:cubicBezTo>
                    <a:pt x="415" y="171"/>
                    <a:pt x="413" y="171"/>
                    <a:pt x="412" y="170"/>
                  </a:cubicBezTo>
                  <a:cubicBezTo>
                    <a:pt x="412" y="170"/>
                    <a:pt x="412" y="170"/>
                    <a:pt x="411" y="169"/>
                  </a:cubicBezTo>
                  <a:cubicBezTo>
                    <a:pt x="410" y="169"/>
                    <a:pt x="409" y="168"/>
                    <a:pt x="409" y="167"/>
                  </a:cubicBezTo>
                  <a:cubicBezTo>
                    <a:pt x="406" y="166"/>
                    <a:pt x="405" y="164"/>
                    <a:pt x="403" y="161"/>
                  </a:cubicBezTo>
                  <a:cubicBezTo>
                    <a:pt x="402" y="160"/>
                    <a:pt x="401" y="159"/>
                    <a:pt x="400" y="158"/>
                  </a:cubicBezTo>
                  <a:cubicBezTo>
                    <a:pt x="399" y="156"/>
                    <a:pt x="398" y="156"/>
                    <a:pt x="398" y="155"/>
                  </a:cubicBezTo>
                  <a:cubicBezTo>
                    <a:pt x="396" y="152"/>
                    <a:pt x="396" y="150"/>
                    <a:pt x="394" y="147"/>
                  </a:cubicBezTo>
                  <a:cubicBezTo>
                    <a:pt x="394" y="146"/>
                    <a:pt x="395" y="144"/>
                    <a:pt x="392" y="145"/>
                  </a:cubicBezTo>
                  <a:cubicBezTo>
                    <a:pt x="391" y="144"/>
                    <a:pt x="392" y="147"/>
                    <a:pt x="391" y="148"/>
                  </a:cubicBezTo>
                  <a:cubicBezTo>
                    <a:pt x="391" y="174"/>
                    <a:pt x="391" y="174"/>
                    <a:pt x="391" y="174"/>
                  </a:cubicBezTo>
                  <a:cubicBezTo>
                    <a:pt x="391" y="175"/>
                    <a:pt x="392" y="178"/>
                    <a:pt x="391" y="178"/>
                  </a:cubicBezTo>
                  <a:cubicBezTo>
                    <a:pt x="389" y="178"/>
                    <a:pt x="390" y="175"/>
                    <a:pt x="390" y="175"/>
                  </a:cubicBezTo>
                  <a:cubicBezTo>
                    <a:pt x="389" y="165"/>
                    <a:pt x="390" y="154"/>
                    <a:pt x="390" y="145"/>
                  </a:cubicBezTo>
                  <a:cubicBezTo>
                    <a:pt x="389" y="144"/>
                    <a:pt x="386" y="145"/>
                    <a:pt x="385" y="145"/>
                  </a:cubicBezTo>
                  <a:cubicBezTo>
                    <a:pt x="385" y="178"/>
                    <a:pt x="385" y="178"/>
                    <a:pt x="385" y="178"/>
                  </a:cubicBezTo>
                  <a:cubicBezTo>
                    <a:pt x="339" y="178"/>
                    <a:pt x="339" y="178"/>
                    <a:pt x="339" y="178"/>
                  </a:cubicBezTo>
                  <a:cubicBezTo>
                    <a:pt x="337" y="177"/>
                    <a:pt x="339" y="180"/>
                    <a:pt x="337" y="179"/>
                  </a:cubicBezTo>
                  <a:cubicBezTo>
                    <a:pt x="314" y="179"/>
                    <a:pt x="314" y="179"/>
                    <a:pt x="314" y="179"/>
                  </a:cubicBezTo>
                  <a:cubicBezTo>
                    <a:pt x="310" y="164"/>
                    <a:pt x="301" y="154"/>
                    <a:pt x="285" y="151"/>
                  </a:cubicBezTo>
                  <a:cubicBezTo>
                    <a:pt x="285" y="125"/>
                    <a:pt x="285" y="125"/>
                    <a:pt x="285" y="125"/>
                  </a:cubicBezTo>
                  <a:cubicBezTo>
                    <a:pt x="285" y="123"/>
                    <a:pt x="287" y="124"/>
                    <a:pt x="287" y="123"/>
                  </a:cubicBezTo>
                  <a:cubicBezTo>
                    <a:pt x="288" y="123"/>
                    <a:pt x="287" y="121"/>
                    <a:pt x="287" y="121"/>
                  </a:cubicBezTo>
                  <a:cubicBezTo>
                    <a:pt x="283" y="120"/>
                    <a:pt x="277" y="120"/>
                    <a:pt x="272" y="120"/>
                  </a:cubicBezTo>
                  <a:cubicBezTo>
                    <a:pt x="272" y="123"/>
                    <a:pt x="272" y="123"/>
                    <a:pt x="272" y="123"/>
                  </a:cubicBezTo>
                  <a:cubicBezTo>
                    <a:pt x="273" y="124"/>
                    <a:pt x="275" y="123"/>
                    <a:pt x="274" y="124"/>
                  </a:cubicBezTo>
                  <a:cubicBezTo>
                    <a:pt x="274" y="148"/>
                    <a:pt x="274" y="148"/>
                    <a:pt x="274" y="148"/>
                  </a:cubicBezTo>
                  <a:cubicBezTo>
                    <a:pt x="274" y="150"/>
                    <a:pt x="274" y="151"/>
                    <a:pt x="273" y="151"/>
                  </a:cubicBezTo>
                  <a:cubicBezTo>
                    <a:pt x="271" y="152"/>
                    <a:pt x="272" y="150"/>
                    <a:pt x="271" y="149"/>
                  </a:cubicBezTo>
                  <a:cubicBezTo>
                    <a:pt x="268" y="142"/>
                    <a:pt x="265" y="135"/>
                    <a:pt x="262" y="127"/>
                  </a:cubicBezTo>
                  <a:cubicBezTo>
                    <a:pt x="261" y="126"/>
                    <a:pt x="262" y="126"/>
                    <a:pt x="263" y="126"/>
                  </a:cubicBezTo>
                  <a:cubicBezTo>
                    <a:pt x="263" y="125"/>
                    <a:pt x="262" y="124"/>
                    <a:pt x="262" y="123"/>
                  </a:cubicBezTo>
                  <a:cubicBezTo>
                    <a:pt x="261" y="122"/>
                    <a:pt x="260" y="124"/>
                    <a:pt x="259" y="124"/>
                  </a:cubicBezTo>
                  <a:cubicBezTo>
                    <a:pt x="256" y="125"/>
                    <a:pt x="252" y="126"/>
                    <a:pt x="249" y="128"/>
                  </a:cubicBezTo>
                  <a:cubicBezTo>
                    <a:pt x="249" y="129"/>
                    <a:pt x="249" y="130"/>
                    <a:pt x="250" y="131"/>
                  </a:cubicBezTo>
                  <a:cubicBezTo>
                    <a:pt x="250" y="132"/>
                    <a:pt x="252" y="130"/>
                    <a:pt x="252" y="131"/>
                  </a:cubicBezTo>
                  <a:cubicBezTo>
                    <a:pt x="255" y="139"/>
                    <a:pt x="258" y="146"/>
                    <a:pt x="260" y="153"/>
                  </a:cubicBezTo>
                  <a:cubicBezTo>
                    <a:pt x="261" y="154"/>
                    <a:pt x="262" y="155"/>
                    <a:pt x="261" y="156"/>
                  </a:cubicBezTo>
                  <a:cubicBezTo>
                    <a:pt x="259" y="157"/>
                    <a:pt x="257" y="154"/>
                    <a:pt x="256" y="153"/>
                  </a:cubicBezTo>
                  <a:cubicBezTo>
                    <a:pt x="252" y="149"/>
                    <a:pt x="248" y="145"/>
                    <a:pt x="244" y="141"/>
                  </a:cubicBezTo>
                  <a:cubicBezTo>
                    <a:pt x="243" y="140"/>
                    <a:pt x="240" y="139"/>
                    <a:pt x="242" y="137"/>
                  </a:cubicBezTo>
                  <a:cubicBezTo>
                    <a:pt x="242" y="136"/>
                    <a:pt x="241" y="136"/>
                    <a:pt x="240" y="135"/>
                  </a:cubicBezTo>
                  <a:cubicBezTo>
                    <a:pt x="239" y="135"/>
                    <a:pt x="238" y="136"/>
                    <a:pt x="237" y="137"/>
                  </a:cubicBezTo>
                  <a:cubicBezTo>
                    <a:pt x="234" y="139"/>
                    <a:pt x="232" y="142"/>
                    <a:pt x="230" y="145"/>
                  </a:cubicBezTo>
                  <a:cubicBezTo>
                    <a:pt x="230" y="146"/>
                    <a:pt x="231" y="146"/>
                    <a:pt x="232" y="147"/>
                  </a:cubicBezTo>
                  <a:cubicBezTo>
                    <a:pt x="233" y="147"/>
                    <a:pt x="233" y="146"/>
                    <a:pt x="233" y="146"/>
                  </a:cubicBezTo>
                  <a:cubicBezTo>
                    <a:pt x="234" y="146"/>
                    <a:pt x="235" y="147"/>
                    <a:pt x="236" y="148"/>
                  </a:cubicBezTo>
                  <a:cubicBezTo>
                    <a:pt x="241" y="153"/>
                    <a:pt x="246" y="159"/>
                    <a:pt x="250" y="163"/>
                  </a:cubicBezTo>
                  <a:cubicBezTo>
                    <a:pt x="251" y="163"/>
                    <a:pt x="252" y="164"/>
                    <a:pt x="251" y="166"/>
                  </a:cubicBezTo>
                  <a:cubicBezTo>
                    <a:pt x="250" y="167"/>
                    <a:pt x="250" y="166"/>
                    <a:pt x="248" y="166"/>
                  </a:cubicBezTo>
                  <a:cubicBezTo>
                    <a:pt x="242" y="162"/>
                    <a:pt x="234" y="160"/>
                    <a:pt x="227" y="157"/>
                  </a:cubicBezTo>
                  <a:cubicBezTo>
                    <a:pt x="226" y="157"/>
                    <a:pt x="227" y="156"/>
                    <a:pt x="227" y="155"/>
                  </a:cubicBezTo>
                  <a:cubicBezTo>
                    <a:pt x="226" y="154"/>
                    <a:pt x="225" y="155"/>
                    <a:pt x="225" y="154"/>
                  </a:cubicBezTo>
                  <a:cubicBezTo>
                    <a:pt x="223" y="154"/>
                    <a:pt x="224" y="156"/>
                    <a:pt x="223" y="156"/>
                  </a:cubicBezTo>
                  <a:cubicBezTo>
                    <a:pt x="222" y="160"/>
                    <a:pt x="220" y="163"/>
                    <a:pt x="219" y="167"/>
                  </a:cubicBezTo>
                  <a:cubicBezTo>
                    <a:pt x="220" y="167"/>
                    <a:pt x="221" y="168"/>
                    <a:pt x="221" y="168"/>
                  </a:cubicBezTo>
                  <a:cubicBezTo>
                    <a:pt x="222" y="168"/>
                    <a:pt x="222" y="166"/>
                    <a:pt x="224" y="167"/>
                  </a:cubicBezTo>
                  <a:cubicBezTo>
                    <a:pt x="230" y="170"/>
                    <a:pt x="237" y="173"/>
                    <a:pt x="244" y="175"/>
                  </a:cubicBezTo>
                  <a:cubicBezTo>
                    <a:pt x="244" y="176"/>
                    <a:pt x="247" y="176"/>
                    <a:pt x="246" y="177"/>
                  </a:cubicBezTo>
                  <a:cubicBezTo>
                    <a:pt x="246" y="180"/>
                    <a:pt x="242" y="179"/>
                    <a:pt x="241" y="179"/>
                  </a:cubicBezTo>
                  <a:cubicBezTo>
                    <a:pt x="233" y="179"/>
                    <a:pt x="225" y="179"/>
                    <a:pt x="219" y="179"/>
                  </a:cubicBezTo>
                  <a:cubicBezTo>
                    <a:pt x="217" y="180"/>
                    <a:pt x="218" y="178"/>
                    <a:pt x="217" y="178"/>
                  </a:cubicBezTo>
                  <a:cubicBezTo>
                    <a:pt x="207" y="178"/>
                    <a:pt x="195" y="177"/>
                    <a:pt x="185" y="178"/>
                  </a:cubicBezTo>
                  <a:cubicBezTo>
                    <a:pt x="183" y="179"/>
                    <a:pt x="182" y="180"/>
                    <a:pt x="181" y="182"/>
                  </a:cubicBezTo>
                  <a:cubicBezTo>
                    <a:pt x="182" y="228"/>
                    <a:pt x="181" y="276"/>
                    <a:pt x="182" y="321"/>
                  </a:cubicBezTo>
                  <a:cubicBezTo>
                    <a:pt x="182" y="323"/>
                    <a:pt x="183" y="323"/>
                    <a:pt x="184" y="324"/>
                  </a:cubicBezTo>
                  <a:cubicBezTo>
                    <a:pt x="213" y="325"/>
                    <a:pt x="243" y="324"/>
                    <a:pt x="273" y="325"/>
                  </a:cubicBezTo>
                  <a:cubicBezTo>
                    <a:pt x="273" y="339"/>
                    <a:pt x="273" y="339"/>
                    <a:pt x="273" y="339"/>
                  </a:cubicBezTo>
                  <a:cubicBezTo>
                    <a:pt x="264" y="340"/>
                    <a:pt x="254" y="339"/>
                    <a:pt x="246" y="340"/>
                  </a:cubicBezTo>
                  <a:cubicBezTo>
                    <a:pt x="244" y="341"/>
                    <a:pt x="243" y="342"/>
                    <a:pt x="242" y="344"/>
                  </a:cubicBezTo>
                  <a:cubicBezTo>
                    <a:pt x="242" y="371"/>
                    <a:pt x="242" y="371"/>
                    <a:pt x="242" y="371"/>
                  </a:cubicBezTo>
                  <a:cubicBezTo>
                    <a:pt x="228" y="371"/>
                    <a:pt x="214" y="370"/>
                    <a:pt x="201" y="371"/>
                  </a:cubicBezTo>
                  <a:cubicBezTo>
                    <a:pt x="201" y="406"/>
                    <a:pt x="201" y="406"/>
                    <a:pt x="201" y="406"/>
                  </a:cubicBezTo>
                  <a:cubicBezTo>
                    <a:pt x="202" y="409"/>
                    <a:pt x="205" y="410"/>
                    <a:pt x="206" y="413"/>
                  </a:cubicBezTo>
                  <a:cubicBezTo>
                    <a:pt x="208" y="415"/>
                    <a:pt x="211" y="417"/>
                    <a:pt x="213" y="419"/>
                  </a:cubicBezTo>
                  <a:cubicBezTo>
                    <a:pt x="213" y="427"/>
                    <a:pt x="212" y="435"/>
                    <a:pt x="212" y="443"/>
                  </a:cubicBezTo>
                  <a:cubicBezTo>
                    <a:pt x="216" y="445"/>
                    <a:pt x="221" y="447"/>
                    <a:pt x="226" y="448"/>
                  </a:cubicBezTo>
                  <a:cubicBezTo>
                    <a:pt x="226" y="481"/>
                    <a:pt x="226" y="481"/>
                    <a:pt x="226" y="481"/>
                  </a:cubicBezTo>
                  <a:cubicBezTo>
                    <a:pt x="203" y="485"/>
                    <a:pt x="181" y="491"/>
                    <a:pt x="161" y="498"/>
                  </a:cubicBezTo>
                  <a:cubicBezTo>
                    <a:pt x="159" y="497"/>
                    <a:pt x="158" y="494"/>
                    <a:pt x="156" y="493"/>
                  </a:cubicBezTo>
                  <a:cubicBezTo>
                    <a:pt x="152" y="489"/>
                    <a:pt x="148" y="485"/>
                    <a:pt x="145" y="481"/>
                  </a:cubicBezTo>
                  <a:cubicBezTo>
                    <a:pt x="144" y="480"/>
                    <a:pt x="143" y="479"/>
                    <a:pt x="142" y="478"/>
                  </a:cubicBezTo>
                  <a:cubicBezTo>
                    <a:pt x="142" y="477"/>
                    <a:pt x="142" y="477"/>
                    <a:pt x="141" y="477"/>
                  </a:cubicBezTo>
                  <a:cubicBezTo>
                    <a:pt x="141" y="476"/>
                    <a:pt x="141" y="476"/>
                    <a:pt x="140" y="475"/>
                  </a:cubicBezTo>
                  <a:cubicBezTo>
                    <a:pt x="139" y="474"/>
                    <a:pt x="138" y="473"/>
                    <a:pt x="137" y="472"/>
                  </a:cubicBezTo>
                  <a:cubicBezTo>
                    <a:pt x="136" y="471"/>
                    <a:pt x="136" y="470"/>
                    <a:pt x="135" y="469"/>
                  </a:cubicBezTo>
                  <a:cubicBezTo>
                    <a:pt x="134" y="467"/>
                    <a:pt x="132" y="465"/>
                    <a:pt x="131" y="464"/>
                  </a:cubicBezTo>
                  <a:cubicBezTo>
                    <a:pt x="131" y="463"/>
                    <a:pt x="131" y="463"/>
                    <a:pt x="131" y="462"/>
                  </a:cubicBezTo>
                  <a:cubicBezTo>
                    <a:pt x="131" y="462"/>
                    <a:pt x="130" y="462"/>
                    <a:pt x="130" y="462"/>
                  </a:cubicBezTo>
                  <a:cubicBezTo>
                    <a:pt x="130" y="462"/>
                    <a:pt x="130" y="461"/>
                    <a:pt x="130" y="461"/>
                  </a:cubicBezTo>
                  <a:cubicBezTo>
                    <a:pt x="129" y="460"/>
                    <a:pt x="129" y="460"/>
                    <a:pt x="128" y="459"/>
                  </a:cubicBezTo>
                  <a:cubicBezTo>
                    <a:pt x="114" y="439"/>
                    <a:pt x="102" y="415"/>
                    <a:pt x="95" y="387"/>
                  </a:cubicBezTo>
                  <a:cubicBezTo>
                    <a:pt x="88" y="363"/>
                    <a:pt x="85" y="333"/>
                    <a:pt x="87" y="307"/>
                  </a:cubicBezTo>
                  <a:cubicBezTo>
                    <a:pt x="87" y="303"/>
                    <a:pt x="88" y="300"/>
                    <a:pt x="88" y="297"/>
                  </a:cubicBezTo>
                  <a:cubicBezTo>
                    <a:pt x="90" y="287"/>
                    <a:pt x="91" y="278"/>
                    <a:pt x="93" y="269"/>
                  </a:cubicBezTo>
                  <a:cubicBezTo>
                    <a:pt x="96" y="257"/>
                    <a:pt x="100" y="246"/>
                    <a:pt x="104" y="235"/>
                  </a:cubicBezTo>
                  <a:cubicBezTo>
                    <a:pt x="121" y="194"/>
                    <a:pt x="148" y="161"/>
                    <a:pt x="182" y="135"/>
                  </a:cubicBezTo>
                  <a:cubicBezTo>
                    <a:pt x="194" y="126"/>
                    <a:pt x="208" y="117"/>
                    <a:pt x="223" y="110"/>
                  </a:cubicBezTo>
                  <a:cubicBezTo>
                    <a:pt x="227" y="108"/>
                    <a:pt x="231" y="107"/>
                    <a:pt x="235" y="105"/>
                  </a:cubicBezTo>
                  <a:cubicBezTo>
                    <a:pt x="236" y="104"/>
                    <a:pt x="237" y="104"/>
                    <a:pt x="238" y="103"/>
                  </a:cubicBezTo>
                  <a:cubicBezTo>
                    <a:pt x="240" y="103"/>
                    <a:pt x="241" y="102"/>
                    <a:pt x="243" y="102"/>
                  </a:cubicBezTo>
                  <a:cubicBezTo>
                    <a:pt x="245" y="101"/>
                    <a:pt x="248" y="100"/>
                    <a:pt x="251" y="99"/>
                  </a:cubicBezTo>
                  <a:cubicBezTo>
                    <a:pt x="252" y="98"/>
                    <a:pt x="254" y="98"/>
                    <a:pt x="255" y="98"/>
                  </a:cubicBezTo>
                  <a:cubicBezTo>
                    <a:pt x="256" y="97"/>
                    <a:pt x="258" y="97"/>
                    <a:pt x="259" y="96"/>
                  </a:cubicBezTo>
                  <a:cubicBezTo>
                    <a:pt x="260" y="96"/>
                    <a:pt x="261" y="96"/>
                    <a:pt x="261" y="96"/>
                  </a:cubicBezTo>
                  <a:cubicBezTo>
                    <a:pt x="262" y="96"/>
                    <a:pt x="263" y="95"/>
                    <a:pt x="264" y="95"/>
                  </a:cubicBezTo>
                  <a:cubicBezTo>
                    <a:pt x="285" y="89"/>
                    <a:pt x="311" y="86"/>
                    <a:pt x="337" y="87"/>
                  </a:cubicBezTo>
                  <a:cubicBezTo>
                    <a:pt x="355" y="88"/>
                    <a:pt x="371" y="91"/>
                    <a:pt x="387" y="95"/>
                  </a:cubicBezTo>
                  <a:cubicBezTo>
                    <a:pt x="410" y="102"/>
                    <a:pt x="430" y="111"/>
                    <a:pt x="448" y="122"/>
                  </a:cubicBezTo>
                  <a:cubicBezTo>
                    <a:pt x="450" y="123"/>
                    <a:pt x="453" y="125"/>
                    <a:pt x="455" y="126"/>
                  </a:cubicBezTo>
                  <a:cubicBezTo>
                    <a:pt x="455" y="126"/>
                    <a:pt x="455" y="127"/>
                    <a:pt x="455" y="127"/>
                  </a:cubicBezTo>
                  <a:cubicBezTo>
                    <a:pt x="456" y="127"/>
                    <a:pt x="456" y="127"/>
                    <a:pt x="456" y="127"/>
                  </a:cubicBezTo>
                  <a:cubicBezTo>
                    <a:pt x="456" y="127"/>
                    <a:pt x="456" y="127"/>
                    <a:pt x="457" y="127"/>
                  </a:cubicBezTo>
                  <a:cubicBezTo>
                    <a:pt x="457" y="128"/>
                    <a:pt x="458" y="128"/>
                    <a:pt x="459" y="129"/>
                  </a:cubicBezTo>
                  <a:cubicBezTo>
                    <a:pt x="459" y="129"/>
                    <a:pt x="460" y="130"/>
                    <a:pt x="460" y="130"/>
                  </a:cubicBezTo>
                  <a:cubicBezTo>
                    <a:pt x="461" y="131"/>
                    <a:pt x="463" y="132"/>
                    <a:pt x="464" y="132"/>
                  </a:cubicBezTo>
                  <a:cubicBezTo>
                    <a:pt x="464" y="132"/>
                    <a:pt x="464" y="133"/>
                    <a:pt x="464" y="133"/>
                  </a:cubicBezTo>
                  <a:cubicBezTo>
                    <a:pt x="464" y="133"/>
                    <a:pt x="465" y="133"/>
                    <a:pt x="465" y="133"/>
                  </a:cubicBezTo>
                  <a:cubicBezTo>
                    <a:pt x="465" y="133"/>
                    <a:pt x="465" y="133"/>
                    <a:pt x="465" y="134"/>
                  </a:cubicBezTo>
                  <a:cubicBezTo>
                    <a:pt x="468" y="136"/>
                    <a:pt x="471" y="137"/>
                    <a:pt x="474" y="140"/>
                  </a:cubicBezTo>
                  <a:cubicBezTo>
                    <a:pt x="475" y="141"/>
                    <a:pt x="476" y="142"/>
                    <a:pt x="477" y="143"/>
                  </a:cubicBezTo>
                  <a:cubicBezTo>
                    <a:pt x="479" y="145"/>
                    <a:pt x="481" y="147"/>
                    <a:pt x="483" y="148"/>
                  </a:cubicBezTo>
                  <a:cubicBezTo>
                    <a:pt x="485" y="149"/>
                    <a:pt x="486" y="150"/>
                    <a:pt x="487" y="151"/>
                  </a:cubicBezTo>
                  <a:cubicBezTo>
                    <a:pt x="492" y="155"/>
                    <a:pt x="496" y="160"/>
                    <a:pt x="500" y="164"/>
                  </a:cubicBezTo>
                  <a:cubicBezTo>
                    <a:pt x="503" y="168"/>
                    <a:pt x="507" y="172"/>
                    <a:pt x="510" y="176"/>
                  </a:cubicBezTo>
                  <a:cubicBezTo>
                    <a:pt x="540" y="213"/>
                    <a:pt x="562" y="263"/>
                    <a:pt x="562" y="328"/>
                  </a:cubicBezTo>
                  <a:cubicBezTo>
                    <a:pt x="562" y="363"/>
                    <a:pt x="553" y="396"/>
                    <a:pt x="541" y="423"/>
                  </a:cubicBezTo>
                  <a:cubicBezTo>
                    <a:pt x="541" y="424"/>
                    <a:pt x="541" y="425"/>
                    <a:pt x="540" y="426"/>
                  </a:cubicBezTo>
                  <a:cubicBezTo>
                    <a:pt x="538" y="432"/>
                    <a:pt x="535" y="437"/>
                    <a:pt x="532" y="442"/>
                  </a:cubicBezTo>
                  <a:cubicBezTo>
                    <a:pt x="529" y="446"/>
                    <a:pt x="526" y="450"/>
                    <a:pt x="525" y="454"/>
                  </a:cubicBezTo>
                  <a:cubicBezTo>
                    <a:pt x="525" y="454"/>
                    <a:pt x="524" y="454"/>
                    <a:pt x="524" y="454"/>
                  </a:cubicBezTo>
                  <a:cubicBezTo>
                    <a:pt x="524" y="455"/>
                    <a:pt x="524" y="455"/>
                    <a:pt x="524" y="455"/>
                  </a:cubicBezTo>
                  <a:cubicBezTo>
                    <a:pt x="524" y="455"/>
                    <a:pt x="523" y="455"/>
                    <a:pt x="523" y="456"/>
                  </a:cubicBezTo>
                  <a:cubicBezTo>
                    <a:pt x="523" y="456"/>
                    <a:pt x="523" y="456"/>
                    <a:pt x="523" y="456"/>
                  </a:cubicBezTo>
                  <a:cubicBezTo>
                    <a:pt x="523" y="456"/>
                    <a:pt x="522" y="457"/>
                    <a:pt x="522" y="457"/>
                  </a:cubicBezTo>
                  <a:cubicBezTo>
                    <a:pt x="522" y="457"/>
                    <a:pt x="522" y="457"/>
                    <a:pt x="522" y="458"/>
                  </a:cubicBezTo>
                  <a:cubicBezTo>
                    <a:pt x="522" y="458"/>
                    <a:pt x="522" y="458"/>
                    <a:pt x="522" y="458"/>
                  </a:cubicBezTo>
                  <a:cubicBezTo>
                    <a:pt x="521" y="458"/>
                    <a:pt x="522" y="458"/>
                    <a:pt x="522" y="459"/>
                  </a:cubicBezTo>
                  <a:cubicBezTo>
                    <a:pt x="522" y="459"/>
                    <a:pt x="521" y="459"/>
                    <a:pt x="521" y="459"/>
                  </a:cubicBezTo>
                  <a:cubicBezTo>
                    <a:pt x="521" y="459"/>
                    <a:pt x="521" y="460"/>
                    <a:pt x="521" y="460"/>
                  </a:cubicBezTo>
                  <a:cubicBezTo>
                    <a:pt x="521" y="460"/>
                    <a:pt x="520" y="460"/>
                    <a:pt x="520" y="460"/>
                  </a:cubicBezTo>
                  <a:cubicBezTo>
                    <a:pt x="520" y="461"/>
                    <a:pt x="519" y="462"/>
                    <a:pt x="519" y="462"/>
                  </a:cubicBezTo>
                  <a:cubicBezTo>
                    <a:pt x="518" y="463"/>
                    <a:pt x="518" y="464"/>
                    <a:pt x="517" y="464"/>
                  </a:cubicBezTo>
                  <a:cubicBezTo>
                    <a:pt x="517" y="465"/>
                    <a:pt x="517" y="465"/>
                    <a:pt x="517" y="466"/>
                  </a:cubicBezTo>
                  <a:cubicBezTo>
                    <a:pt x="516" y="467"/>
                    <a:pt x="515" y="468"/>
                    <a:pt x="514" y="469"/>
                  </a:cubicBezTo>
                  <a:cubicBezTo>
                    <a:pt x="513" y="470"/>
                    <a:pt x="512" y="471"/>
                    <a:pt x="511" y="473"/>
                  </a:cubicBezTo>
                  <a:cubicBezTo>
                    <a:pt x="509" y="475"/>
                    <a:pt x="507" y="477"/>
                    <a:pt x="506" y="479"/>
                  </a:cubicBezTo>
                  <a:cubicBezTo>
                    <a:pt x="506" y="479"/>
                    <a:pt x="505" y="479"/>
                    <a:pt x="505" y="480"/>
                  </a:cubicBezTo>
                  <a:cubicBezTo>
                    <a:pt x="501" y="484"/>
                    <a:pt x="498" y="488"/>
                    <a:pt x="494" y="492"/>
                  </a:cubicBezTo>
                  <a:cubicBezTo>
                    <a:pt x="474" y="512"/>
                    <a:pt x="452" y="528"/>
                    <a:pt x="426" y="540"/>
                  </a:cubicBezTo>
                  <a:cubicBezTo>
                    <a:pt x="399" y="553"/>
                    <a:pt x="368" y="561"/>
                    <a:pt x="332" y="563"/>
                  </a:cubicBezTo>
                  <a:cubicBezTo>
                    <a:pt x="327" y="563"/>
                    <a:pt x="322" y="563"/>
                    <a:pt x="318" y="563"/>
                  </a:cubicBezTo>
                  <a:cubicBezTo>
                    <a:pt x="270" y="561"/>
                    <a:pt x="235" y="548"/>
                    <a:pt x="204" y="530"/>
                  </a:cubicBezTo>
                  <a:cubicBezTo>
                    <a:pt x="205" y="529"/>
                    <a:pt x="208" y="528"/>
                    <a:pt x="210" y="527"/>
                  </a:cubicBezTo>
                  <a:cubicBezTo>
                    <a:pt x="212" y="526"/>
                    <a:pt x="213" y="526"/>
                    <a:pt x="214" y="525"/>
                  </a:cubicBezTo>
                  <a:cubicBezTo>
                    <a:pt x="241" y="513"/>
                    <a:pt x="270" y="504"/>
                    <a:pt x="301" y="497"/>
                  </a:cubicBezTo>
                  <a:cubicBezTo>
                    <a:pt x="319" y="494"/>
                    <a:pt x="338" y="490"/>
                    <a:pt x="357" y="488"/>
                  </a:cubicBezTo>
                  <a:cubicBezTo>
                    <a:pt x="377" y="486"/>
                    <a:pt x="397" y="485"/>
                    <a:pt x="418" y="484"/>
                  </a:cubicBezTo>
                  <a:cubicBezTo>
                    <a:pt x="422" y="484"/>
                    <a:pt x="425" y="484"/>
                    <a:pt x="429" y="484"/>
                  </a:cubicBezTo>
                  <a:cubicBezTo>
                    <a:pt x="449" y="483"/>
                    <a:pt x="469" y="483"/>
                    <a:pt x="488" y="486"/>
                  </a:cubicBezTo>
                  <a:cubicBezTo>
                    <a:pt x="488" y="484"/>
                    <a:pt x="486" y="485"/>
                    <a:pt x="485" y="485"/>
                  </a:cubicBezTo>
                  <a:cubicBezTo>
                    <a:pt x="478" y="483"/>
                    <a:pt x="470" y="481"/>
                    <a:pt x="462" y="480"/>
                  </a:cubicBezTo>
                  <a:cubicBezTo>
                    <a:pt x="453" y="478"/>
                    <a:pt x="444" y="477"/>
                    <a:pt x="435" y="476"/>
                  </a:cubicBezTo>
                  <a:cubicBezTo>
                    <a:pt x="437" y="459"/>
                    <a:pt x="441" y="443"/>
                    <a:pt x="444" y="427"/>
                  </a:cubicBezTo>
                  <a:cubicBezTo>
                    <a:pt x="443" y="421"/>
                    <a:pt x="442" y="415"/>
                    <a:pt x="441" y="409"/>
                  </a:cubicBezTo>
                  <a:cubicBezTo>
                    <a:pt x="440" y="411"/>
                    <a:pt x="440" y="414"/>
                    <a:pt x="439" y="417"/>
                  </a:cubicBezTo>
                  <a:cubicBezTo>
                    <a:pt x="438" y="423"/>
                    <a:pt x="436" y="429"/>
                    <a:pt x="435" y="434"/>
                  </a:cubicBezTo>
                  <a:cubicBezTo>
                    <a:pt x="434" y="437"/>
                    <a:pt x="434" y="440"/>
                    <a:pt x="433" y="442"/>
                  </a:cubicBezTo>
                  <a:cubicBezTo>
                    <a:pt x="430" y="442"/>
                    <a:pt x="430" y="442"/>
                    <a:pt x="430" y="442"/>
                  </a:cubicBezTo>
                  <a:cubicBezTo>
                    <a:pt x="428" y="443"/>
                    <a:pt x="429" y="440"/>
                    <a:pt x="429" y="439"/>
                  </a:cubicBezTo>
                  <a:cubicBezTo>
                    <a:pt x="429" y="413"/>
                    <a:pt x="429" y="413"/>
                    <a:pt x="429" y="413"/>
                  </a:cubicBezTo>
                  <a:cubicBezTo>
                    <a:pt x="430" y="411"/>
                    <a:pt x="431" y="411"/>
                    <a:pt x="432" y="410"/>
                  </a:cubicBezTo>
                  <a:cubicBezTo>
                    <a:pt x="435" y="407"/>
                    <a:pt x="439" y="405"/>
                    <a:pt x="442" y="403"/>
                  </a:cubicBezTo>
                  <a:cubicBezTo>
                    <a:pt x="444" y="385"/>
                    <a:pt x="446" y="367"/>
                    <a:pt x="448" y="349"/>
                  </a:cubicBezTo>
                  <a:cubicBezTo>
                    <a:pt x="444" y="358"/>
                    <a:pt x="440" y="367"/>
                    <a:pt x="436" y="376"/>
                  </a:cubicBezTo>
                  <a:cubicBezTo>
                    <a:pt x="432" y="385"/>
                    <a:pt x="428" y="394"/>
                    <a:pt x="425" y="403"/>
                  </a:cubicBezTo>
                  <a:cubicBezTo>
                    <a:pt x="424" y="404"/>
                    <a:pt x="424" y="407"/>
                    <a:pt x="422" y="406"/>
                  </a:cubicBezTo>
                  <a:cubicBezTo>
                    <a:pt x="421" y="407"/>
                    <a:pt x="422" y="404"/>
                    <a:pt x="421" y="403"/>
                  </a:cubicBezTo>
                  <a:cubicBezTo>
                    <a:pt x="421" y="387"/>
                    <a:pt x="421" y="387"/>
                    <a:pt x="421" y="387"/>
                  </a:cubicBezTo>
                  <a:cubicBezTo>
                    <a:pt x="421" y="382"/>
                    <a:pt x="421" y="377"/>
                    <a:pt x="421" y="371"/>
                  </a:cubicBezTo>
                  <a:cubicBezTo>
                    <a:pt x="422" y="370"/>
                    <a:pt x="423" y="368"/>
                    <a:pt x="423" y="366"/>
                  </a:cubicBezTo>
                  <a:cubicBezTo>
                    <a:pt x="425" y="360"/>
                    <a:pt x="427" y="355"/>
                    <a:pt x="429" y="350"/>
                  </a:cubicBezTo>
                  <a:cubicBezTo>
                    <a:pt x="429" y="348"/>
                    <a:pt x="427" y="348"/>
                    <a:pt x="426" y="346"/>
                  </a:cubicBezTo>
                  <a:cubicBezTo>
                    <a:pt x="425" y="345"/>
                    <a:pt x="424" y="344"/>
                    <a:pt x="422" y="343"/>
                  </a:cubicBezTo>
                  <a:cubicBezTo>
                    <a:pt x="420" y="341"/>
                    <a:pt x="417" y="339"/>
                    <a:pt x="415" y="336"/>
                  </a:cubicBezTo>
                  <a:cubicBezTo>
                    <a:pt x="418" y="332"/>
                    <a:pt x="422" y="328"/>
                    <a:pt x="426" y="325"/>
                  </a:cubicBezTo>
                  <a:cubicBezTo>
                    <a:pt x="427" y="323"/>
                    <a:pt x="428" y="321"/>
                    <a:pt x="430" y="321"/>
                  </a:cubicBezTo>
                  <a:cubicBezTo>
                    <a:pt x="431" y="322"/>
                    <a:pt x="432" y="323"/>
                    <a:pt x="433" y="323"/>
                  </a:cubicBezTo>
                  <a:cubicBezTo>
                    <a:pt x="432" y="328"/>
                    <a:pt x="429" y="331"/>
                    <a:pt x="428" y="335"/>
                  </a:cubicBezTo>
                  <a:cubicBezTo>
                    <a:pt x="428" y="337"/>
                    <a:pt x="430" y="338"/>
                    <a:pt x="431" y="339"/>
                  </a:cubicBezTo>
                  <a:cubicBezTo>
                    <a:pt x="432" y="340"/>
                    <a:pt x="434" y="341"/>
                    <a:pt x="435" y="342"/>
                  </a:cubicBezTo>
                  <a:cubicBezTo>
                    <a:pt x="437" y="344"/>
                    <a:pt x="440" y="346"/>
                    <a:pt x="443" y="349"/>
                  </a:cubicBezTo>
                  <a:cubicBezTo>
                    <a:pt x="450" y="343"/>
                    <a:pt x="457" y="338"/>
                    <a:pt x="465" y="332"/>
                  </a:cubicBezTo>
                  <a:cubicBezTo>
                    <a:pt x="470" y="313"/>
                    <a:pt x="476" y="295"/>
                    <a:pt x="481" y="276"/>
                  </a:cubicBezTo>
                  <a:cubicBezTo>
                    <a:pt x="479" y="268"/>
                    <a:pt x="477" y="260"/>
                    <a:pt x="474" y="252"/>
                  </a:cubicBezTo>
                  <a:cubicBezTo>
                    <a:pt x="474" y="251"/>
                    <a:pt x="475" y="251"/>
                    <a:pt x="476" y="251"/>
                  </a:cubicBezTo>
                  <a:cubicBezTo>
                    <a:pt x="477" y="250"/>
                    <a:pt x="478" y="249"/>
                    <a:pt x="479" y="248"/>
                  </a:cubicBezTo>
                  <a:cubicBezTo>
                    <a:pt x="482" y="246"/>
                    <a:pt x="485" y="244"/>
                    <a:pt x="486" y="240"/>
                  </a:cubicBezTo>
                  <a:cubicBezTo>
                    <a:pt x="484" y="239"/>
                    <a:pt x="483" y="240"/>
                    <a:pt x="482" y="241"/>
                  </a:cubicBezTo>
                  <a:cubicBezTo>
                    <a:pt x="477" y="243"/>
                    <a:pt x="473" y="244"/>
                    <a:pt x="469" y="246"/>
                  </a:cubicBezTo>
                  <a:cubicBezTo>
                    <a:pt x="468" y="252"/>
                    <a:pt x="468" y="258"/>
                    <a:pt x="467" y="264"/>
                  </a:cubicBezTo>
                  <a:cubicBezTo>
                    <a:pt x="467" y="270"/>
                    <a:pt x="466" y="276"/>
                    <a:pt x="465" y="282"/>
                  </a:cubicBezTo>
                  <a:cubicBezTo>
                    <a:pt x="456" y="282"/>
                    <a:pt x="447" y="283"/>
                    <a:pt x="438" y="283"/>
                  </a:cubicBezTo>
                  <a:cubicBezTo>
                    <a:pt x="442" y="285"/>
                    <a:pt x="447" y="285"/>
                    <a:pt x="452" y="285"/>
                  </a:cubicBezTo>
                  <a:cubicBezTo>
                    <a:pt x="456" y="286"/>
                    <a:pt x="461" y="286"/>
                    <a:pt x="466" y="287"/>
                  </a:cubicBezTo>
                  <a:cubicBezTo>
                    <a:pt x="456" y="289"/>
                    <a:pt x="446" y="290"/>
                    <a:pt x="436" y="292"/>
                  </a:cubicBezTo>
                  <a:cubicBezTo>
                    <a:pt x="437" y="295"/>
                    <a:pt x="438" y="299"/>
                    <a:pt x="440" y="302"/>
                  </a:cubicBezTo>
                  <a:cubicBezTo>
                    <a:pt x="439" y="304"/>
                    <a:pt x="438" y="305"/>
                    <a:pt x="437" y="306"/>
                  </a:cubicBezTo>
                  <a:cubicBezTo>
                    <a:pt x="436" y="307"/>
                    <a:pt x="435" y="308"/>
                    <a:pt x="434" y="309"/>
                  </a:cubicBezTo>
                  <a:cubicBezTo>
                    <a:pt x="429" y="308"/>
                    <a:pt x="425" y="306"/>
                    <a:pt x="421" y="304"/>
                  </a:cubicBezTo>
                  <a:cubicBezTo>
                    <a:pt x="416" y="306"/>
                    <a:pt x="412" y="308"/>
                    <a:pt x="409" y="311"/>
                  </a:cubicBezTo>
                  <a:cubicBezTo>
                    <a:pt x="407" y="310"/>
                    <a:pt x="406" y="308"/>
                    <a:pt x="405" y="307"/>
                  </a:cubicBezTo>
                  <a:cubicBezTo>
                    <a:pt x="404" y="306"/>
                    <a:pt x="403" y="304"/>
                    <a:pt x="402" y="303"/>
                  </a:cubicBezTo>
                  <a:cubicBezTo>
                    <a:pt x="404" y="296"/>
                    <a:pt x="406" y="290"/>
                    <a:pt x="409" y="284"/>
                  </a:cubicBezTo>
                  <a:cubicBezTo>
                    <a:pt x="409" y="283"/>
                    <a:pt x="410" y="280"/>
                    <a:pt x="410" y="279"/>
                  </a:cubicBezTo>
                  <a:cubicBezTo>
                    <a:pt x="411" y="279"/>
                    <a:pt x="412" y="280"/>
                    <a:pt x="413" y="279"/>
                  </a:cubicBezTo>
                  <a:cubicBezTo>
                    <a:pt x="414" y="279"/>
                    <a:pt x="413" y="281"/>
                    <a:pt x="413" y="281"/>
                  </a:cubicBezTo>
                  <a:cubicBezTo>
                    <a:pt x="415" y="287"/>
                    <a:pt x="415" y="294"/>
                    <a:pt x="415" y="300"/>
                  </a:cubicBezTo>
                  <a:cubicBezTo>
                    <a:pt x="417" y="295"/>
                    <a:pt x="419" y="290"/>
                    <a:pt x="420" y="285"/>
                  </a:cubicBezTo>
                  <a:cubicBezTo>
                    <a:pt x="424" y="286"/>
                    <a:pt x="429" y="285"/>
                    <a:pt x="433" y="286"/>
                  </a:cubicBezTo>
                  <a:cubicBezTo>
                    <a:pt x="432" y="285"/>
                    <a:pt x="430" y="285"/>
                    <a:pt x="428" y="284"/>
                  </a:cubicBezTo>
                  <a:cubicBezTo>
                    <a:pt x="430" y="283"/>
                    <a:pt x="433" y="284"/>
                    <a:pt x="436" y="283"/>
                  </a:cubicBezTo>
                  <a:cubicBezTo>
                    <a:pt x="435" y="281"/>
                    <a:pt x="434" y="280"/>
                    <a:pt x="433" y="277"/>
                  </a:cubicBezTo>
                  <a:cubicBezTo>
                    <a:pt x="435" y="275"/>
                    <a:pt x="437" y="273"/>
                    <a:pt x="438" y="271"/>
                  </a:cubicBezTo>
                  <a:cubicBezTo>
                    <a:pt x="439" y="265"/>
                    <a:pt x="439" y="260"/>
                    <a:pt x="440" y="255"/>
                  </a:cubicBezTo>
                  <a:cubicBezTo>
                    <a:pt x="438" y="253"/>
                    <a:pt x="436" y="252"/>
                    <a:pt x="434" y="250"/>
                  </a:cubicBezTo>
                  <a:cubicBezTo>
                    <a:pt x="432" y="248"/>
                    <a:pt x="431" y="247"/>
                    <a:pt x="428" y="245"/>
                  </a:cubicBezTo>
                  <a:cubicBezTo>
                    <a:pt x="426" y="246"/>
                    <a:pt x="424" y="246"/>
                    <a:pt x="421" y="246"/>
                  </a:cubicBezTo>
                  <a:cubicBezTo>
                    <a:pt x="418" y="247"/>
                    <a:pt x="417" y="249"/>
                    <a:pt x="415" y="250"/>
                  </a:cubicBezTo>
                  <a:cubicBezTo>
                    <a:pt x="414" y="251"/>
                    <a:pt x="414" y="252"/>
                    <a:pt x="413" y="251"/>
                  </a:cubicBezTo>
                  <a:cubicBezTo>
                    <a:pt x="413" y="240"/>
                    <a:pt x="412" y="227"/>
                    <a:pt x="412" y="215"/>
                  </a:cubicBezTo>
                  <a:cubicBezTo>
                    <a:pt x="412" y="213"/>
                    <a:pt x="412" y="211"/>
                    <a:pt x="411" y="209"/>
                  </a:cubicBezTo>
                  <a:cubicBezTo>
                    <a:pt x="411" y="208"/>
                    <a:pt x="411" y="207"/>
                    <a:pt x="410" y="207"/>
                  </a:cubicBezTo>
                  <a:cubicBezTo>
                    <a:pt x="410" y="206"/>
                    <a:pt x="410" y="205"/>
                    <a:pt x="409" y="205"/>
                  </a:cubicBezTo>
                  <a:cubicBezTo>
                    <a:pt x="408" y="228"/>
                    <a:pt x="407" y="253"/>
                    <a:pt x="407" y="277"/>
                  </a:cubicBezTo>
                  <a:cubicBezTo>
                    <a:pt x="405" y="281"/>
                    <a:pt x="403" y="283"/>
                    <a:pt x="402" y="287"/>
                  </a:cubicBezTo>
                  <a:cubicBezTo>
                    <a:pt x="397" y="280"/>
                    <a:pt x="399" y="271"/>
                    <a:pt x="401" y="261"/>
                  </a:cubicBezTo>
                  <a:cubicBezTo>
                    <a:pt x="401" y="255"/>
                    <a:pt x="402" y="249"/>
                    <a:pt x="402" y="243"/>
                  </a:cubicBezTo>
                  <a:cubicBezTo>
                    <a:pt x="403" y="230"/>
                    <a:pt x="405" y="218"/>
                    <a:pt x="406" y="206"/>
                  </a:cubicBezTo>
                  <a:cubicBezTo>
                    <a:pt x="405" y="206"/>
                    <a:pt x="405" y="207"/>
                    <a:pt x="404" y="207"/>
                  </a:cubicBezTo>
                  <a:cubicBezTo>
                    <a:pt x="404" y="208"/>
                    <a:pt x="403" y="208"/>
                    <a:pt x="403" y="209"/>
                  </a:cubicBezTo>
                  <a:cubicBezTo>
                    <a:pt x="402" y="209"/>
                    <a:pt x="402" y="211"/>
                    <a:pt x="401" y="212"/>
                  </a:cubicBezTo>
                  <a:cubicBezTo>
                    <a:pt x="400" y="223"/>
                    <a:pt x="399" y="235"/>
                    <a:pt x="398" y="246"/>
                  </a:cubicBezTo>
                  <a:cubicBezTo>
                    <a:pt x="394" y="249"/>
                    <a:pt x="390" y="252"/>
                    <a:pt x="385" y="255"/>
                  </a:cubicBezTo>
                  <a:cubicBezTo>
                    <a:pt x="384" y="261"/>
                    <a:pt x="383" y="267"/>
                    <a:pt x="382" y="273"/>
                  </a:cubicBezTo>
                  <a:cubicBezTo>
                    <a:pt x="384" y="269"/>
                    <a:pt x="386" y="265"/>
                    <a:pt x="387" y="260"/>
                  </a:cubicBezTo>
                  <a:cubicBezTo>
                    <a:pt x="391" y="259"/>
                    <a:pt x="393" y="256"/>
                    <a:pt x="397" y="255"/>
                  </a:cubicBezTo>
                  <a:cubicBezTo>
                    <a:pt x="396" y="258"/>
                    <a:pt x="396" y="261"/>
                    <a:pt x="396" y="264"/>
                  </a:cubicBezTo>
                  <a:cubicBezTo>
                    <a:pt x="393" y="265"/>
                    <a:pt x="392" y="267"/>
                    <a:pt x="389" y="268"/>
                  </a:cubicBezTo>
                  <a:cubicBezTo>
                    <a:pt x="385" y="273"/>
                    <a:pt x="380" y="279"/>
                    <a:pt x="376" y="285"/>
                  </a:cubicBezTo>
                  <a:cubicBezTo>
                    <a:pt x="376" y="295"/>
                    <a:pt x="375" y="304"/>
                    <a:pt x="374" y="313"/>
                  </a:cubicBezTo>
                  <a:cubicBezTo>
                    <a:pt x="374" y="314"/>
                    <a:pt x="375" y="314"/>
                    <a:pt x="376" y="314"/>
                  </a:cubicBezTo>
                  <a:cubicBezTo>
                    <a:pt x="376" y="315"/>
                    <a:pt x="377" y="316"/>
                    <a:pt x="377" y="316"/>
                  </a:cubicBezTo>
                  <a:cubicBezTo>
                    <a:pt x="378" y="317"/>
                    <a:pt x="378" y="316"/>
                    <a:pt x="378" y="317"/>
                  </a:cubicBezTo>
                  <a:cubicBezTo>
                    <a:pt x="380" y="317"/>
                    <a:pt x="380" y="319"/>
                    <a:pt x="381" y="319"/>
                  </a:cubicBezTo>
                  <a:cubicBezTo>
                    <a:pt x="384" y="321"/>
                    <a:pt x="386" y="323"/>
                    <a:pt x="388" y="326"/>
                  </a:cubicBezTo>
                  <a:cubicBezTo>
                    <a:pt x="390" y="326"/>
                    <a:pt x="390" y="328"/>
                    <a:pt x="392" y="328"/>
                  </a:cubicBezTo>
                  <a:cubicBezTo>
                    <a:pt x="396" y="332"/>
                    <a:pt x="399" y="335"/>
                    <a:pt x="403" y="338"/>
                  </a:cubicBezTo>
                  <a:cubicBezTo>
                    <a:pt x="401" y="343"/>
                    <a:pt x="399" y="348"/>
                    <a:pt x="397" y="354"/>
                  </a:cubicBezTo>
                  <a:cubicBezTo>
                    <a:pt x="380" y="352"/>
                    <a:pt x="363" y="350"/>
                    <a:pt x="346" y="347"/>
                  </a:cubicBezTo>
                  <a:cubicBezTo>
                    <a:pt x="337" y="352"/>
                    <a:pt x="328" y="356"/>
                    <a:pt x="319" y="361"/>
                  </a:cubicBezTo>
                  <a:cubicBezTo>
                    <a:pt x="319" y="383"/>
                    <a:pt x="319" y="383"/>
                    <a:pt x="319" y="383"/>
                  </a:cubicBezTo>
                  <a:cubicBezTo>
                    <a:pt x="303" y="383"/>
                    <a:pt x="303" y="383"/>
                    <a:pt x="303" y="383"/>
                  </a:cubicBezTo>
                  <a:cubicBezTo>
                    <a:pt x="301" y="379"/>
                    <a:pt x="299" y="375"/>
                    <a:pt x="297" y="371"/>
                  </a:cubicBezTo>
                  <a:cubicBezTo>
                    <a:pt x="287" y="371"/>
                    <a:pt x="287" y="371"/>
                    <a:pt x="287" y="371"/>
                  </a:cubicBezTo>
                  <a:cubicBezTo>
                    <a:pt x="287" y="354"/>
                    <a:pt x="287" y="354"/>
                    <a:pt x="287" y="354"/>
                  </a:cubicBezTo>
                  <a:cubicBezTo>
                    <a:pt x="303" y="354"/>
                    <a:pt x="303" y="354"/>
                    <a:pt x="303" y="354"/>
                  </a:cubicBezTo>
                  <a:cubicBezTo>
                    <a:pt x="305" y="353"/>
                    <a:pt x="306" y="352"/>
                    <a:pt x="307" y="351"/>
                  </a:cubicBezTo>
                  <a:cubicBezTo>
                    <a:pt x="308" y="346"/>
                    <a:pt x="308" y="339"/>
                    <a:pt x="308" y="332"/>
                  </a:cubicBezTo>
                  <a:cubicBezTo>
                    <a:pt x="308" y="325"/>
                    <a:pt x="309" y="317"/>
                    <a:pt x="307" y="313"/>
                  </a:cubicBezTo>
                  <a:cubicBezTo>
                    <a:pt x="306" y="312"/>
                    <a:pt x="305" y="312"/>
                    <a:pt x="304" y="311"/>
                  </a:cubicBezTo>
                  <a:cubicBezTo>
                    <a:pt x="299" y="310"/>
                    <a:pt x="293" y="311"/>
                    <a:pt x="287" y="311"/>
                  </a:cubicBezTo>
                  <a:cubicBezTo>
                    <a:pt x="287" y="244"/>
                    <a:pt x="287" y="244"/>
                    <a:pt x="287" y="244"/>
                  </a:cubicBezTo>
                  <a:cubicBezTo>
                    <a:pt x="288" y="242"/>
                    <a:pt x="285" y="244"/>
                    <a:pt x="286" y="242"/>
                  </a:cubicBezTo>
                  <a:cubicBezTo>
                    <a:pt x="286" y="221"/>
                    <a:pt x="286" y="221"/>
                    <a:pt x="286" y="221"/>
                  </a:cubicBezTo>
                  <a:cubicBezTo>
                    <a:pt x="286" y="220"/>
                    <a:pt x="285" y="218"/>
                    <a:pt x="286" y="219"/>
                  </a:cubicBezTo>
                  <a:cubicBezTo>
                    <a:pt x="289" y="218"/>
                    <a:pt x="289" y="221"/>
                    <a:pt x="290" y="223"/>
                  </a:cubicBezTo>
                  <a:cubicBezTo>
                    <a:pt x="291" y="224"/>
                    <a:pt x="291" y="227"/>
                    <a:pt x="292" y="228"/>
                  </a:cubicBezTo>
                  <a:cubicBezTo>
                    <a:pt x="294" y="232"/>
                    <a:pt x="295" y="237"/>
                    <a:pt x="297" y="240"/>
                  </a:cubicBezTo>
                  <a:cubicBezTo>
                    <a:pt x="297" y="241"/>
                    <a:pt x="295" y="241"/>
                    <a:pt x="295" y="242"/>
                  </a:cubicBezTo>
                  <a:cubicBezTo>
                    <a:pt x="296" y="242"/>
                    <a:pt x="296" y="243"/>
                    <a:pt x="296" y="244"/>
                  </a:cubicBezTo>
                  <a:cubicBezTo>
                    <a:pt x="298" y="245"/>
                    <a:pt x="301" y="243"/>
                    <a:pt x="303" y="242"/>
                  </a:cubicBezTo>
                  <a:cubicBezTo>
                    <a:pt x="305" y="241"/>
                    <a:pt x="308" y="241"/>
                    <a:pt x="310" y="239"/>
                  </a:cubicBezTo>
                  <a:cubicBezTo>
                    <a:pt x="310" y="238"/>
                    <a:pt x="309" y="238"/>
                    <a:pt x="309" y="236"/>
                  </a:cubicBezTo>
                  <a:cubicBezTo>
                    <a:pt x="308" y="237"/>
                    <a:pt x="307" y="236"/>
                    <a:pt x="307" y="236"/>
                  </a:cubicBezTo>
                  <a:cubicBezTo>
                    <a:pt x="306" y="232"/>
                    <a:pt x="304" y="228"/>
                    <a:pt x="302" y="225"/>
                  </a:cubicBezTo>
                  <a:cubicBezTo>
                    <a:pt x="302" y="224"/>
                    <a:pt x="302" y="222"/>
                    <a:pt x="302" y="221"/>
                  </a:cubicBezTo>
                  <a:cubicBezTo>
                    <a:pt x="301" y="221"/>
                    <a:pt x="301" y="220"/>
                    <a:pt x="300" y="219"/>
                  </a:cubicBezTo>
                  <a:cubicBezTo>
                    <a:pt x="300" y="217"/>
                    <a:pt x="298" y="215"/>
                    <a:pt x="299" y="213"/>
                  </a:cubicBezTo>
                  <a:cubicBezTo>
                    <a:pt x="301" y="212"/>
                    <a:pt x="302" y="214"/>
                    <a:pt x="303" y="216"/>
                  </a:cubicBezTo>
                  <a:cubicBezTo>
                    <a:pt x="304" y="216"/>
                    <a:pt x="304" y="217"/>
                    <a:pt x="304" y="217"/>
                  </a:cubicBezTo>
                  <a:cubicBezTo>
                    <a:pt x="305" y="217"/>
                    <a:pt x="305" y="217"/>
                    <a:pt x="306" y="218"/>
                  </a:cubicBezTo>
                  <a:cubicBezTo>
                    <a:pt x="306" y="218"/>
                    <a:pt x="306" y="219"/>
                    <a:pt x="307" y="219"/>
                  </a:cubicBezTo>
                  <a:cubicBezTo>
                    <a:pt x="307" y="220"/>
                    <a:pt x="308" y="220"/>
                    <a:pt x="309" y="221"/>
                  </a:cubicBezTo>
                  <a:cubicBezTo>
                    <a:pt x="310" y="222"/>
                    <a:pt x="311" y="223"/>
                    <a:pt x="312" y="225"/>
                  </a:cubicBezTo>
                  <a:cubicBezTo>
                    <a:pt x="314" y="226"/>
                    <a:pt x="316" y="228"/>
                    <a:pt x="317" y="229"/>
                  </a:cubicBezTo>
                  <a:cubicBezTo>
                    <a:pt x="317" y="230"/>
                    <a:pt x="318" y="230"/>
                    <a:pt x="316" y="231"/>
                  </a:cubicBezTo>
                  <a:cubicBezTo>
                    <a:pt x="316" y="232"/>
                    <a:pt x="318" y="232"/>
                    <a:pt x="318" y="233"/>
                  </a:cubicBezTo>
                  <a:cubicBezTo>
                    <a:pt x="319" y="233"/>
                    <a:pt x="320" y="232"/>
                    <a:pt x="321" y="231"/>
                  </a:cubicBezTo>
                  <a:cubicBezTo>
                    <a:pt x="323" y="230"/>
                    <a:pt x="325" y="228"/>
                    <a:pt x="326" y="226"/>
                  </a:cubicBezTo>
                  <a:cubicBezTo>
                    <a:pt x="327" y="225"/>
                    <a:pt x="328" y="224"/>
                    <a:pt x="329" y="223"/>
                  </a:cubicBezTo>
                  <a:cubicBezTo>
                    <a:pt x="328" y="222"/>
                    <a:pt x="327" y="222"/>
                    <a:pt x="327" y="221"/>
                  </a:cubicBezTo>
                  <a:cubicBezTo>
                    <a:pt x="326" y="222"/>
                    <a:pt x="325" y="221"/>
                    <a:pt x="324" y="221"/>
                  </a:cubicBezTo>
                  <a:cubicBezTo>
                    <a:pt x="324" y="220"/>
                    <a:pt x="323" y="219"/>
                    <a:pt x="323" y="219"/>
                  </a:cubicBezTo>
                  <a:cubicBezTo>
                    <a:pt x="318" y="215"/>
                    <a:pt x="314" y="210"/>
                    <a:pt x="310" y="206"/>
                  </a:cubicBezTo>
                  <a:cubicBezTo>
                    <a:pt x="309" y="206"/>
                    <a:pt x="307" y="204"/>
                    <a:pt x="309" y="204"/>
                  </a:cubicBezTo>
                  <a:cubicBezTo>
                    <a:pt x="309" y="202"/>
                    <a:pt x="310" y="204"/>
                    <a:pt x="311" y="204"/>
                  </a:cubicBezTo>
                  <a:cubicBezTo>
                    <a:pt x="318" y="206"/>
                    <a:pt x="325" y="209"/>
                    <a:pt x="331" y="212"/>
                  </a:cubicBezTo>
                  <a:cubicBezTo>
                    <a:pt x="333" y="212"/>
                    <a:pt x="331" y="214"/>
                    <a:pt x="332" y="214"/>
                  </a:cubicBezTo>
                  <a:cubicBezTo>
                    <a:pt x="333" y="214"/>
                    <a:pt x="334" y="214"/>
                    <a:pt x="334" y="215"/>
                  </a:cubicBezTo>
                  <a:cubicBezTo>
                    <a:pt x="336" y="215"/>
                    <a:pt x="335" y="213"/>
                    <a:pt x="336" y="212"/>
                  </a:cubicBezTo>
                  <a:cubicBezTo>
                    <a:pt x="337" y="208"/>
                    <a:pt x="339" y="206"/>
                    <a:pt x="340" y="202"/>
                  </a:cubicBezTo>
                  <a:cubicBezTo>
                    <a:pt x="339" y="201"/>
                    <a:pt x="338" y="201"/>
                    <a:pt x="338" y="201"/>
                  </a:cubicBezTo>
                  <a:cubicBezTo>
                    <a:pt x="336" y="200"/>
                    <a:pt x="337" y="202"/>
                    <a:pt x="335" y="202"/>
                  </a:cubicBezTo>
                  <a:cubicBezTo>
                    <a:pt x="335" y="201"/>
                    <a:pt x="334" y="201"/>
                    <a:pt x="333" y="201"/>
                  </a:cubicBezTo>
                  <a:cubicBezTo>
                    <a:pt x="332" y="200"/>
                    <a:pt x="331" y="199"/>
                    <a:pt x="330" y="199"/>
                  </a:cubicBezTo>
                  <a:cubicBezTo>
                    <a:pt x="329" y="199"/>
                    <a:pt x="328" y="199"/>
                    <a:pt x="327" y="198"/>
                  </a:cubicBezTo>
                  <a:cubicBezTo>
                    <a:pt x="326" y="198"/>
                    <a:pt x="325" y="197"/>
                    <a:pt x="324" y="197"/>
                  </a:cubicBezTo>
                  <a:cubicBezTo>
                    <a:pt x="324" y="196"/>
                    <a:pt x="322" y="196"/>
                    <a:pt x="321" y="196"/>
                  </a:cubicBezTo>
                  <a:cubicBezTo>
                    <a:pt x="320" y="196"/>
                    <a:pt x="320" y="195"/>
                    <a:pt x="319" y="194"/>
                  </a:cubicBezTo>
                  <a:cubicBezTo>
                    <a:pt x="318" y="194"/>
                    <a:pt x="318" y="194"/>
                    <a:pt x="317" y="194"/>
                  </a:cubicBezTo>
                  <a:cubicBezTo>
                    <a:pt x="317" y="194"/>
                    <a:pt x="316" y="194"/>
                    <a:pt x="316" y="193"/>
                  </a:cubicBezTo>
                  <a:cubicBezTo>
                    <a:pt x="315" y="193"/>
                    <a:pt x="313" y="193"/>
                    <a:pt x="313" y="191"/>
                  </a:cubicBezTo>
                  <a:cubicBezTo>
                    <a:pt x="313" y="190"/>
                    <a:pt x="315" y="191"/>
                    <a:pt x="315" y="191"/>
                  </a:cubicBezTo>
                  <a:cubicBezTo>
                    <a:pt x="322" y="190"/>
                    <a:pt x="330" y="191"/>
                    <a:pt x="337" y="191"/>
                  </a:cubicBezTo>
                  <a:cubicBezTo>
                    <a:pt x="338" y="190"/>
                    <a:pt x="337" y="192"/>
                    <a:pt x="339" y="192"/>
                  </a:cubicBezTo>
                  <a:cubicBezTo>
                    <a:pt x="402" y="192"/>
                    <a:pt x="402" y="192"/>
                    <a:pt x="402" y="192"/>
                  </a:cubicBezTo>
                  <a:cubicBezTo>
                    <a:pt x="403" y="196"/>
                    <a:pt x="404" y="198"/>
                    <a:pt x="406" y="201"/>
                  </a:cubicBezTo>
                  <a:cubicBezTo>
                    <a:pt x="414" y="198"/>
                    <a:pt x="422" y="195"/>
                    <a:pt x="429" y="192"/>
                  </a:cubicBezTo>
                  <a:cubicBezTo>
                    <a:pt x="435" y="192"/>
                    <a:pt x="435" y="192"/>
                    <a:pt x="435" y="192"/>
                  </a:cubicBezTo>
                  <a:cubicBezTo>
                    <a:pt x="436" y="192"/>
                    <a:pt x="436" y="193"/>
                    <a:pt x="435" y="193"/>
                  </a:cubicBezTo>
                  <a:cubicBezTo>
                    <a:pt x="435" y="194"/>
                    <a:pt x="434" y="193"/>
                    <a:pt x="434" y="194"/>
                  </a:cubicBezTo>
                  <a:cubicBezTo>
                    <a:pt x="434" y="195"/>
                    <a:pt x="432" y="197"/>
                    <a:pt x="432" y="198"/>
                  </a:cubicBezTo>
                  <a:cubicBezTo>
                    <a:pt x="431" y="199"/>
                    <a:pt x="430" y="199"/>
                    <a:pt x="430" y="200"/>
                  </a:cubicBezTo>
                  <a:cubicBezTo>
                    <a:pt x="429" y="200"/>
                    <a:pt x="429" y="201"/>
                    <a:pt x="429" y="201"/>
                  </a:cubicBezTo>
                  <a:cubicBezTo>
                    <a:pt x="427" y="204"/>
                    <a:pt x="426" y="206"/>
                    <a:pt x="424" y="209"/>
                  </a:cubicBezTo>
                  <a:cubicBezTo>
                    <a:pt x="423" y="210"/>
                    <a:pt x="421" y="212"/>
                    <a:pt x="420" y="213"/>
                  </a:cubicBezTo>
                  <a:cubicBezTo>
                    <a:pt x="421" y="216"/>
                    <a:pt x="422" y="217"/>
                    <a:pt x="424" y="218"/>
                  </a:cubicBezTo>
                  <a:cubicBezTo>
                    <a:pt x="425" y="219"/>
                    <a:pt x="427" y="220"/>
                    <a:pt x="429" y="220"/>
                  </a:cubicBezTo>
                  <a:cubicBezTo>
                    <a:pt x="430" y="220"/>
                    <a:pt x="431" y="218"/>
                    <a:pt x="432" y="217"/>
                  </a:cubicBezTo>
                  <a:cubicBezTo>
                    <a:pt x="437" y="211"/>
                    <a:pt x="442" y="204"/>
                    <a:pt x="447" y="198"/>
                  </a:cubicBezTo>
                  <a:cubicBezTo>
                    <a:pt x="448" y="196"/>
                    <a:pt x="450" y="195"/>
                    <a:pt x="452" y="193"/>
                  </a:cubicBezTo>
                  <a:cubicBezTo>
                    <a:pt x="452" y="192"/>
                    <a:pt x="452" y="193"/>
                    <a:pt x="452" y="193"/>
                  </a:cubicBezTo>
                  <a:close/>
                  <a:moveTo>
                    <a:pt x="495" y="110"/>
                  </a:moveTo>
                  <a:cubicBezTo>
                    <a:pt x="499" y="110"/>
                    <a:pt x="501" y="110"/>
                    <a:pt x="503" y="109"/>
                  </a:cubicBezTo>
                  <a:cubicBezTo>
                    <a:pt x="505" y="108"/>
                    <a:pt x="506" y="108"/>
                    <a:pt x="507" y="106"/>
                  </a:cubicBezTo>
                  <a:cubicBezTo>
                    <a:pt x="508" y="105"/>
                    <a:pt x="509" y="104"/>
                    <a:pt x="509" y="103"/>
                  </a:cubicBezTo>
                  <a:cubicBezTo>
                    <a:pt x="511" y="99"/>
                    <a:pt x="510" y="94"/>
                    <a:pt x="508" y="92"/>
                  </a:cubicBezTo>
                  <a:cubicBezTo>
                    <a:pt x="508" y="92"/>
                    <a:pt x="508" y="91"/>
                    <a:pt x="508" y="91"/>
                  </a:cubicBezTo>
                  <a:cubicBezTo>
                    <a:pt x="507" y="90"/>
                    <a:pt x="506" y="90"/>
                    <a:pt x="505" y="89"/>
                  </a:cubicBezTo>
                  <a:cubicBezTo>
                    <a:pt x="505" y="89"/>
                    <a:pt x="505" y="89"/>
                    <a:pt x="504" y="88"/>
                  </a:cubicBezTo>
                  <a:cubicBezTo>
                    <a:pt x="504" y="88"/>
                    <a:pt x="503" y="88"/>
                    <a:pt x="503" y="87"/>
                  </a:cubicBezTo>
                  <a:cubicBezTo>
                    <a:pt x="503" y="87"/>
                    <a:pt x="503" y="87"/>
                    <a:pt x="502" y="86"/>
                  </a:cubicBezTo>
                  <a:cubicBezTo>
                    <a:pt x="502" y="86"/>
                    <a:pt x="501" y="86"/>
                    <a:pt x="501" y="86"/>
                  </a:cubicBezTo>
                  <a:cubicBezTo>
                    <a:pt x="497" y="83"/>
                    <a:pt x="492" y="79"/>
                    <a:pt x="489" y="77"/>
                  </a:cubicBezTo>
                  <a:cubicBezTo>
                    <a:pt x="489" y="77"/>
                    <a:pt x="489" y="76"/>
                    <a:pt x="488" y="76"/>
                  </a:cubicBezTo>
                  <a:cubicBezTo>
                    <a:pt x="481" y="87"/>
                    <a:pt x="473" y="97"/>
                    <a:pt x="466" y="107"/>
                  </a:cubicBezTo>
                  <a:cubicBezTo>
                    <a:pt x="468" y="109"/>
                    <a:pt x="470" y="111"/>
                    <a:pt x="473" y="112"/>
                  </a:cubicBezTo>
                  <a:cubicBezTo>
                    <a:pt x="476" y="109"/>
                    <a:pt x="478" y="104"/>
                    <a:pt x="481" y="101"/>
                  </a:cubicBezTo>
                  <a:cubicBezTo>
                    <a:pt x="486" y="104"/>
                    <a:pt x="490" y="108"/>
                    <a:pt x="495" y="110"/>
                  </a:cubicBezTo>
                  <a:close/>
                  <a:moveTo>
                    <a:pt x="166" y="71"/>
                  </a:moveTo>
                  <a:cubicBezTo>
                    <a:pt x="166" y="71"/>
                    <a:pt x="165" y="72"/>
                    <a:pt x="165" y="72"/>
                  </a:cubicBezTo>
                  <a:cubicBezTo>
                    <a:pt x="162" y="74"/>
                    <a:pt x="159" y="76"/>
                    <a:pt x="157" y="77"/>
                  </a:cubicBezTo>
                  <a:cubicBezTo>
                    <a:pt x="156" y="78"/>
                    <a:pt x="155" y="79"/>
                    <a:pt x="154" y="79"/>
                  </a:cubicBezTo>
                  <a:cubicBezTo>
                    <a:pt x="154" y="80"/>
                    <a:pt x="153" y="80"/>
                    <a:pt x="153" y="81"/>
                  </a:cubicBezTo>
                  <a:cubicBezTo>
                    <a:pt x="149" y="83"/>
                    <a:pt x="144" y="86"/>
                    <a:pt x="141" y="89"/>
                  </a:cubicBezTo>
                  <a:cubicBezTo>
                    <a:pt x="143" y="93"/>
                    <a:pt x="146" y="97"/>
                    <a:pt x="149" y="101"/>
                  </a:cubicBezTo>
                  <a:cubicBezTo>
                    <a:pt x="152" y="105"/>
                    <a:pt x="154" y="109"/>
                    <a:pt x="157" y="113"/>
                  </a:cubicBezTo>
                  <a:cubicBezTo>
                    <a:pt x="158" y="114"/>
                    <a:pt x="159" y="116"/>
                    <a:pt x="160" y="116"/>
                  </a:cubicBezTo>
                  <a:cubicBezTo>
                    <a:pt x="161" y="118"/>
                    <a:pt x="161" y="120"/>
                    <a:pt x="163" y="120"/>
                  </a:cubicBezTo>
                  <a:cubicBezTo>
                    <a:pt x="165" y="119"/>
                    <a:pt x="167" y="117"/>
                    <a:pt x="168" y="116"/>
                  </a:cubicBezTo>
                  <a:cubicBezTo>
                    <a:pt x="169" y="116"/>
                    <a:pt x="169" y="116"/>
                    <a:pt x="169" y="116"/>
                  </a:cubicBezTo>
                  <a:cubicBezTo>
                    <a:pt x="170" y="115"/>
                    <a:pt x="170" y="115"/>
                    <a:pt x="171" y="115"/>
                  </a:cubicBezTo>
                  <a:cubicBezTo>
                    <a:pt x="171" y="115"/>
                    <a:pt x="171" y="114"/>
                    <a:pt x="171" y="114"/>
                  </a:cubicBezTo>
                  <a:cubicBezTo>
                    <a:pt x="172" y="114"/>
                    <a:pt x="172" y="114"/>
                    <a:pt x="173" y="114"/>
                  </a:cubicBezTo>
                  <a:cubicBezTo>
                    <a:pt x="173" y="114"/>
                    <a:pt x="173" y="113"/>
                    <a:pt x="173" y="113"/>
                  </a:cubicBezTo>
                  <a:cubicBezTo>
                    <a:pt x="173" y="113"/>
                    <a:pt x="174" y="113"/>
                    <a:pt x="174" y="113"/>
                  </a:cubicBezTo>
                  <a:cubicBezTo>
                    <a:pt x="175" y="112"/>
                    <a:pt x="176" y="111"/>
                    <a:pt x="176" y="111"/>
                  </a:cubicBezTo>
                  <a:cubicBezTo>
                    <a:pt x="177" y="110"/>
                    <a:pt x="177" y="111"/>
                    <a:pt x="177" y="110"/>
                  </a:cubicBezTo>
                  <a:cubicBezTo>
                    <a:pt x="178" y="110"/>
                    <a:pt x="178" y="110"/>
                    <a:pt x="178" y="110"/>
                  </a:cubicBezTo>
                  <a:cubicBezTo>
                    <a:pt x="178" y="109"/>
                    <a:pt x="179" y="109"/>
                    <a:pt x="179" y="109"/>
                  </a:cubicBezTo>
                  <a:cubicBezTo>
                    <a:pt x="180" y="109"/>
                    <a:pt x="181" y="108"/>
                    <a:pt x="181" y="107"/>
                  </a:cubicBezTo>
                  <a:cubicBezTo>
                    <a:pt x="182" y="107"/>
                    <a:pt x="182" y="107"/>
                    <a:pt x="182" y="107"/>
                  </a:cubicBezTo>
                  <a:cubicBezTo>
                    <a:pt x="183" y="107"/>
                    <a:pt x="183" y="106"/>
                    <a:pt x="183" y="106"/>
                  </a:cubicBezTo>
                  <a:cubicBezTo>
                    <a:pt x="183" y="106"/>
                    <a:pt x="184" y="106"/>
                    <a:pt x="184" y="106"/>
                  </a:cubicBezTo>
                  <a:cubicBezTo>
                    <a:pt x="186" y="105"/>
                    <a:pt x="187" y="103"/>
                    <a:pt x="189" y="102"/>
                  </a:cubicBezTo>
                  <a:cubicBezTo>
                    <a:pt x="189" y="101"/>
                    <a:pt x="187" y="101"/>
                    <a:pt x="187" y="99"/>
                  </a:cubicBezTo>
                  <a:cubicBezTo>
                    <a:pt x="186" y="99"/>
                    <a:pt x="187" y="97"/>
                    <a:pt x="185" y="97"/>
                  </a:cubicBezTo>
                  <a:cubicBezTo>
                    <a:pt x="179" y="101"/>
                    <a:pt x="172" y="106"/>
                    <a:pt x="166" y="110"/>
                  </a:cubicBezTo>
                  <a:cubicBezTo>
                    <a:pt x="164" y="107"/>
                    <a:pt x="161" y="105"/>
                    <a:pt x="160" y="102"/>
                  </a:cubicBezTo>
                  <a:cubicBezTo>
                    <a:pt x="166" y="98"/>
                    <a:pt x="171" y="94"/>
                    <a:pt x="177" y="90"/>
                  </a:cubicBezTo>
                  <a:cubicBezTo>
                    <a:pt x="177" y="88"/>
                    <a:pt x="176" y="88"/>
                    <a:pt x="176" y="87"/>
                  </a:cubicBezTo>
                  <a:cubicBezTo>
                    <a:pt x="175" y="86"/>
                    <a:pt x="175" y="85"/>
                    <a:pt x="173" y="84"/>
                  </a:cubicBezTo>
                  <a:cubicBezTo>
                    <a:pt x="171" y="86"/>
                    <a:pt x="169" y="88"/>
                    <a:pt x="166" y="89"/>
                  </a:cubicBezTo>
                  <a:cubicBezTo>
                    <a:pt x="166" y="89"/>
                    <a:pt x="166" y="90"/>
                    <a:pt x="166" y="90"/>
                  </a:cubicBezTo>
                  <a:cubicBezTo>
                    <a:pt x="166" y="90"/>
                    <a:pt x="165" y="90"/>
                    <a:pt x="165" y="90"/>
                  </a:cubicBezTo>
                  <a:cubicBezTo>
                    <a:pt x="165" y="90"/>
                    <a:pt x="165" y="90"/>
                    <a:pt x="165" y="91"/>
                  </a:cubicBezTo>
                  <a:cubicBezTo>
                    <a:pt x="162" y="93"/>
                    <a:pt x="159" y="95"/>
                    <a:pt x="156" y="96"/>
                  </a:cubicBezTo>
                  <a:cubicBezTo>
                    <a:pt x="154" y="94"/>
                    <a:pt x="153" y="92"/>
                    <a:pt x="151" y="89"/>
                  </a:cubicBezTo>
                  <a:cubicBezTo>
                    <a:pt x="157" y="85"/>
                    <a:pt x="163" y="81"/>
                    <a:pt x="170" y="76"/>
                  </a:cubicBezTo>
                  <a:cubicBezTo>
                    <a:pt x="169" y="74"/>
                    <a:pt x="168" y="73"/>
                    <a:pt x="166" y="71"/>
                  </a:cubicBezTo>
                  <a:close/>
                  <a:moveTo>
                    <a:pt x="215" y="61"/>
                  </a:moveTo>
                  <a:cubicBezTo>
                    <a:pt x="214" y="58"/>
                    <a:pt x="212" y="56"/>
                    <a:pt x="210" y="54"/>
                  </a:cubicBezTo>
                  <a:cubicBezTo>
                    <a:pt x="208" y="53"/>
                    <a:pt x="206" y="52"/>
                    <a:pt x="203" y="53"/>
                  </a:cubicBezTo>
                  <a:cubicBezTo>
                    <a:pt x="194" y="56"/>
                    <a:pt x="186" y="61"/>
                    <a:pt x="178" y="64"/>
                  </a:cubicBezTo>
                  <a:cubicBezTo>
                    <a:pt x="183" y="76"/>
                    <a:pt x="189" y="88"/>
                    <a:pt x="195" y="99"/>
                  </a:cubicBezTo>
                  <a:cubicBezTo>
                    <a:pt x="197" y="97"/>
                    <a:pt x="200" y="96"/>
                    <a:pt x="202" y="95"/>
                  </a:cubicBezTo>
                  <a:cubicBezTo>
                    <a:pt x="200" y="90"/>
                    <a:pt x="197" y="86"/>
                    <a:pt x="195" y="80"/>
                  </a:cubicBezTo>
                  <a:cubicBezTo>
                    <a:pt x="198" y="79"/>
                    <a:pt x="200" y="78"/>
                    <a:pt x="204" y="78"/>
                  </a:cubicBezTo>
                  <a:cubicBezTo>
                    <a:pt x="209" y="81"/>
                    <a:pt x="214" y="84"/>
                    <a:pt x="220" y="86"/>
                  </a:cubicBezTo>
                  <a:cubicBezTo>
                    <a:pt x="223" y="85"/>
                    <a:pt x="226" y="84"/>
                    <a:pt x="229" y="82"/>
                  </a:cubicBezTo>
                  <a:cubicBezTo>
                    <a:pt x="222" y="79"/>
                    <a:pt x="217" y="74"/>
                    <a:pt x="209" y="73"/>
                  </a:cubicBezTo>
                  <a:cubicBezTo>
                    <a:pt x="212" y="70"/>
                    <a:pt x="216" y="67"/>
                    <a:pt x="215" y="61"/>
                  </a:cubicBezTo>
                  <a:close/>
                  <a:moveTo>
                    <a:pt x="420" y="83"/>
                  </a:moveTo>
                  <a:cubicBezTo>
                    <a:pt x="422" y="84"/>
                    <a:pt x="425" y="86"/>
                    <a:pt x="427" y="87"/>
                  </a:cubicBezTo>
                  <a:cubicBezTo>
                    <a:pt x="429" y="83"/>
                    <a:pt x="431" y="79"/>
                    <a:pt x="433" y="76"/>
                  </a:cubicBezTo>
                  <a:cubicBezTo>
                    <a:pt x="433" y="74"/>
                    <a:pt x="433" y="73"/>
                    <a:pt x="434" y="72"/>
                  </a:cubicBezTo>
                  <a:cubicBezTo>
                    <a:pt x="439" y="75"/>
                    <a:pt x="445" y="77"/>
                    <a:pt x="450" y="79"/>
                  </a:cubicBezTo>
                  <a:cubicBezTo>
                    <a:pt x="451" y="77"/>
                    <a:pt x="452" y="76"/>
                    <a:pt x="453" y="73"/>
                  </a:cubicBezTo>
                  <a:cubicBezTo>
                    <a:pt x="447" y="71"/>
                    <a:pt x="442" y="69"/>
                    <a:pt x="437" y="66"/>
                  </a:cubicBezTo>
                  <a:cubicBezTo>
                    <a:pt x="438" y="63"/>
                    <a:pt x="439" y="60"/>
                    <a:pt x="441" y="58"/>
                  </a:cubicBezTo>
                  <a:cubicBezTo>
                    <a:pt x="444" y="59"/>
                    <a:pt x="447" y="61"/>
                    <a:pt x="450" y="62"/>
                  </a:cubicBezTo>
                  <a:cubicBezTo>
                    <a:pt x="453" y="63"/>
                    <a:pt x="456" y="65"/>
                    <a:pt x="460" y="66"/>
                  </a:cubicBezTo>
                  <a:cubicBezTo>
                    <a:pt x="460" y="64"/>
                    <a:pt x="461" y="62"/>
                    <a:pt x="462" y="60"/>
                  </a:cubicBezTo>
                  <a:cubicBezTo>
                    <a:pt x="453" y="57"/>
                    <a:pt x="445" y="52"/>
                    <a:pt x="436" y="48"/>
                  </a:cubicBezTo>
                  <a:cubicBezTo>
                    <a:pt x="430" y="60"/>
                    <a:pt x="425" y="71"/>
                    <a:pt x="420" y="83"/>
                  </a:cubicBezTo>
                  <a:close/>
                  <a:moveTo>
                    <a:pt x="248" y="38"/>
                  </a:moveTo>
                  <a:cubicBezTo>
                    <a:pt x="251" y="40"/>
                    <a:pt x="253" y="42"/>
                    <a:pt x="254" y="46"/>
                  </a:cubicBezTo>
                  <a:cubicBezTo>
                    <a:pt x="252" y="47"/>
                    <a:pt x="249" y="47"/>
                    <a:pt x="247" y="48"/>
                  </a:cubicBezTo>
                  <a:cubicBezTo>
                    <a:pt x="245" y="47"/>
                    <a:pt x="245" y="45"/>
                    <a:pt x="243" y="45"/>
                  </a:cubicBezTo>
                  <a:cubicBezTo>
                    <a:pt x="238" y="44"/>
                    <a:pt x="232" y="47"/>
                    <a:pt x="231" y="50"/>
                  </a:cubicBezTo>
                  <a:cubicBezTo>
                    <a:pt x="233" y="56"/>
                    <a:pt x="241" y="53"/>
                    <a:pt x="248" y="53"/>
                  </a:cubicBezTo>
                  <a:cubicBezTo>
                    <a:pt x="252" y="53"/>
                    <a:pt x="255" y="54"/>
                    <a:pt x="258" y="56"/>
                  </a:cubicBezTo>
                  <a:cubicBezTo>
                    <a:pt x="260" y="59"/>
                    <a:pt x="262" y="62"/>
                    <a:pt x="260" y="68"/>
                  </a:cubicBezTo>
                  <a:cubicBezTo>
                    <a:pt x="260" y="68"/>
                    <a:pt x="260" y="69"/>
                    <a:pt x="259" y="69"/>
                  </a:cubicBezTo>
                  <a:cubicBezTo>
                    <a:pt x="259" y="70"/>
                    <a:pt x="259" y="71"/>
                    <a:pt x="259" y="71"/>
                  </a:cubicBezTo>
                  <a:cubicBezTo>
                    <a:pt x="256" y="74"/>
                    <a:pt x="249" y="78"/>
                    <a:pt x="243" y="78"/>
                  </a:cubicBezTo>
                  <a:cubicBezTo>
                    <a:pt x="238" y="79"/>
                    <a:pt x="234" y="78"/>
                    <a:pt x="232" y="76"/>
                  </a:cubicBezTo>
                  <a:cubicBezTo>
                    <a:pt x="231" y="75"/>
                    <a:pt x="230" y="75"/>
                    <a:pt x="230" y="74"/>
                  </a:cubicBezTo>
                  <a:cubicBezTo>
                    <a:pt x="229" y="74"/>
                    <a:pt x="229" y="73"/>
                    <a:pt x="228" y="72"/>
                  </a:cubicBezTo>
                  <a:cubicBezTo>
                    <a:pt x="228" y="71"/>
                    <a:pt x="227" y="71"/>
                    <a:pt x="227" y="70"/>
                  </a:cubicBezTo>
                  <a:cubicBezTo>
                    <a:pt x="230" y="69"/>
                    <a:pt x="232" y="68"/>
                    <a:pt x="235" y="67"/>
                  </a:cubicBezTo>
                  <a:cubicBezTo>
                    <a:pt x="236" y="69"/>
                    <a:pt x="238" y="70"/>
                    <a:pt x="240" y="72"/>
                  </a:cubicBezTo>
                  <a:cubicBezTo>
                    <a:pt x="244" y="72"/>
                    <a:pt x="247" y="71"/>
                    <a:pt x="250" y="69"/>
                  </a:cubicBezTo>
                  <a:cubicBezTo>
                    <a:pt x="251" y="68"/>
                    <a:pt x="253" y="66"/>
                    <a:pt x="252" y="64"/>
                  </a:cubicBezTo>
                  <a:cubicBezTo>
                    <a:pt x="252" y="58"/>
                    <a:pt x="241" y="62"/>
                    <a:pt x="234" y="61"/>
                  </a:cubicBezTo>
                  <a:cubicBezTo>
                    <a:pt x="227" y="61"/>
                    <a:pt x="222" y="56"/>
                    <a:pt x="224" y="48"/>
                  </a:cubicBezTo>
                  <a:cubicBezTo>
                    <a:pt x="228" y="41"/>
                    <a:pt x="237" y="37"/>
                    <a:pt x="248" y="38"/>
                  </a:cubicBezTo>
                  <a:close/>
                  <a:moveTo>
                    <a:pt x="379" y="61"/>
                  </a:moveTo>
                  <a:cubicBezTo>
                    <a:pt x="378" y="54"/>
                    <a:pt x="381" y="46"/>
                    <a:pt x="385" y="41"/>
                  </a:cubicBezTo>
                  <a:cubicBezTo>
                    <a:pt x="389" y="39"/>
                    <a:pt x="391" y="36"/>
                    <a:pt x="396" y="36"/>
                  </a:cubicBezTo>
                  <a:cubicBezTo>
                    <a:pt x="400" y="36"/>
                    <a:pt x="408" y="38"/>
                    <a:pt x="412" y="40"/>
                  </a:cubicBezTo>
                  <a:cubicBezTo>
                    <a:pt x="412" y="40"/>
                    <a:pt x="412" y="41"/>
                    <a:pt x="412" y="41"/>
                  </a:cubicBezTo>
                  <a:cubicBezTo>
                    <a:pt x="414" y="41"/>
                    <a:pt x="415" y="43"/>
                    <a:pt x="417" y="44"/>
                  </a:cubicBezTo>
                  <a:cubicBezTo>
                    <a:pt x="418" y="47"/>
                    <a:pt x="420" y="50"/>
                    <a:pt x="420" y="54"/>
                  </a:cubicBezTo>
                  <a:cubicBezTo>
                    <a:pt x="421" y="58"/>
                    <a:pt x="419" y="62"/>
                    <a:pt x="418" y="65"/>
                  </a:cubicBezTo>
                  <a:cubicBezTo>
                    <a:pt x="418" y="66"/>
                    <a:pt x="417" y="68"/>
                    <a:pt x="417" y="68"/>
                  </a:cubicBezTo>
                  <a:cubicBezTo>
                    <a:pt x="417" y="69"/>
                    <a:pt x="416" y="69"/>
                    <a:pt x="416" y="69"/>
                  </a:cubicBezTo>
                  <a:cubicBezTo>
                    <a:pt x="416" y="70"/>
                    <a:pt x="414" y="72"/>
                    <a:pt x="413" y="73"/>
                  </a:cubicBezTo>
                  <a:cubicBezTo>
                    <a:pt x="412" y="73"/>
                    <a:pt x="412" y="73"/>
                    <a:pt x="412" y="73"/>
                  </a:cubicBezTo>
                  <a:cubicBezTo>
                    <a:pt x="411" y="74"/>
                    <a:pt x="410" y="75"/>
                    <a:pt x="408" y="76"/>
                  </a:cubicBezTo>
                  <a:cubicBezTo>
                    <a:pt x="398" y="79"/>
                    <a:pt x="384" y="74"/>
                    <a:pt x="380" y="65"/>
                  </a:cubicBezTo>
                  <a:cubicBezTo>
                    <a:pt x="380" y="64"/>
                    <a:pt x="379" y="62"/>
                    <a:pt x="379" y="61"/>
                  </a:cubicBezTo>
                  <a:close/>
                  <a:moveTo>
                    <a:pt x="263" y="33"/>
                  </a:moveTo>
                  <a:cubicBezTo>
                    <a:pt x="265" y="42"/>
                    <a:pt x="267" y="53"/>
                    <a:pt x="268" y="62"/>
                  </a:cubicBezTo>
                  <a:cubicBezTo>
                    <a:pt x="269" y="65"/>
                    <a:pt x="270" y="68"/>
                    <a:pt x="271" y="71"/>
                  </a:cubicBezTo>
                  <a:cubicBezTo>
                    <a:pt x="273" y="70"/>
                    <a:pt x="276" y="69"/>
                    <a:pt x="279" y="69"/>
                  </a:cubicBezTo>
                  <a:cubicBezTo>
                    <a:pt x="276" y="57"/>
                    <a:pt x="274" y="43"/>
                    <a:pt x="271" y="31"/>
                  </a:cubicBezTo>
                  <a:cubicBezTo>
                    <a:pt x="269" y="32"/>
                    <a:pt x="266" y="33"/>
                    <a:pt x="263" y="33"/>
                  </a:cubicBezTo>
                  <a:close/>
                  <a:moveTo>
                    <a:pt x="321" y="27"/>
                  </a:moveTo>
                  <a:cubicBezTo>
                    <a:pt x="325" y="34"/>
                    <a:pt x="330" y="42"/>
                    <a:pt x="334" y="49"/>
                  </a:cubicBezTo>
                  <a:cubicBezTo>
                    <a:pt x="334" y="55"/>
                    <a:pt x="334" y="60"/>
                    <a:pt x="333" y="65"/>
                  </a:cubicBezTo>
                  <a:cubicBezTo>
                    <a:pt x="336" y="65"/>
                    <a:pt x="339" y="65"/>
                    <a:pt x="342" y="66"/>
                  </a:cubicBezTo>
                  <a:cubicBezTo>
                    <a:pt x="342" y="61"/>
                    <a:pt x="342" y="56"/>
                    <a:pt x="342" y="50"/>
                  </a:cubicBezTo>
                  <a:cubicBezTo>
                    <a:pt x="345" y="46"/>
                    <a:pt x="348" y="43"/>
                    <a:pt x="351" y="39"/>
                  </a:cubicBezTo>
                  <a:cubicBezTo>
                    <a:pt x="352" y="37"/>
                    <a:pt x="353" y="36"/>
                    <a:pt x="355" y="34"/>
                  </a:cubicBezTo>
                  <a:cubicBezTo>
                    <a:pt x="356" y="32"/>
                    <a:pt x="358" y="30"/>
                    <a:pt x="359" y="28"/>
                  </a:cubicBezTo>
                  <a:cubicBezTo>
                    <a:pt x="356" y="28"/>
                    <a:pt x="353" y="27"/>
                    <a:pt x="350" y="28"/>
                  </a:cubicBezTo>
                  <a:cubicBezTo>
                    <a:pt x="346" y="32"/>
                    <a:pt x="343" y="38"/>
                    <a:pt x="339" y="42"/>
                  </a:cubicBezTo>
                  <a:cubicBezTo>
                    <a:pt x="336" y="37"/>
                    <a:pt x="333" y="32"/>
                    <a:pt x="330" y="27"/>
                  </a:cubicBezTo>
                  <a:cubicBezTo>
                    <a:pt x="327" y="27"/>
                    <a:pt x="323" y="25"/>
                    <a:pt x="320" y="27"/>
                  </a:cubicBezTo>
                  <a:cubicBezTo>
                    <a:pt x="320" y="27"/>
                    <a:pt x="320" y="27"/>
                    <a:pt x="321" y="27"/>
                  </a:cubicBezTo>
                  <a:close/>
                  <a:moveTo>
                    <a:pt x="280" y="29"/>
                  </a:moveTo>
                  <a:cubicBezTo>
                    <a:pt x="280" y="32"/>
                    <a:pt x="281" y="33"/>
                    <a:pt x="281" y="36"/>
                  </a:cubicBezTo>
                  <a:cubicBezTo>
                    <a:pt x="285" y="35"/>
                    <a:pt x="289" y="35"/>
                    <a:pt x="293" y="35"/>
                  </a:cubicBezTo>
                  <a:cubicBezTo>
                    <a:pt x="294" y="45"/>
                    <a:pt x="295" y="56"/>
                    <a:pt x="296" y="67"/>
                  </a:cubicBezTo>
                  <a:cubicBezTo>
                    <a:pt x="299" y="66"/>
                    <a:pt x="302" y="66"/>
                    <a:pt x="305" y="66"/>
                  </a:cubicBezTo>
                  <a:cubicBezTo>
                    <a:pt x="303" y="55"/>
                    <a:pt x="303" y="44"/>
                    <a:pt x="302" y="34"/>
                  </a:cubicBezTo>
                  <a:cubicBezTo>
                    <a:pt x="306" y="34"/>
                    <a:pt x="310" y="33"/>
                    <a:pt x="314" y="33"/>
                  </a:cubicBezTo>
                  <a:cubicBezTo>
                    <a:pt x="314" y="30"/>
                    <a:pt x="314" y="28"/>
                    <a:pt x="313" y="26"/>
                  </a:cubicBezTo>
                  <a:cubicBezTo>
                    <a:pt x="303" y="28"/>
                    <a:pt x="292" y="28"/>
                    <a:pt x="280" y="29"/>
                  </a:cubicBezTo>
                  <a:close/>
                  <a:moveTo>
                    <a:pt x="550" y="91"/>
                  </a:moveTo>
                  <a:cubicBezTo>
                    <a:pt x="552" y="93"/>
                    <a:pt x="554" y="94"/>
                    <a:pt x="555" y="96"/>
                  </a:cubicBezTo>
                  <a:cubicBezTo>
                    <a:pt x="557" y="97"/>
                    <a:pt x="558" y="99"/>
                    <a:pt x="559" y="101"/>
                  </a:cubicBezTo>
                  <a:cubicBezTo>
                    <a:pt x="561" y="103"/>
                    <a:pt x="564" y="105"/>
                    <a:pt x="566" y="108"/>
                  </a:cubicBezTo>
                  <a:cubicBezTo>
                    <a:pt x="567" y="108"/>
                    <a:pt x="567" y="110"/>
                    <a:pt x="568" y="110"/>
                  </a:cubicBezTo>
                  <a:cubicBezTo>
                    <a:pt x="569" y="111"/>
                    <a:pt x="570" y="112"/>
                    <a:pt x="571" y="114"/>
                  </a:cubicBezTo>
                  <a:cubicBezTo>
                    <a:pt x="572" y="115"/>
                    <a:pt x="573" y="116"/>
                    <a:pt x="575" y="118"/>
                  </a:cubicBezTo>
                  <a:cubicBezTo>
                    <a:pt x="575" y="118"/>
                    <a:pt x="576" y="119"/>
                    <a:pt x="576" y="120"/>
                  </a:cubicBezTo>
                  <a:cubicBezTo>
                    <a:pt x="578" y="122"/>
                    <a:pt x="579" y="123"/>
                    <a:pt x="581" y="125"/>
                  </a:cubicBezTo>
                  <a:cubicBezTo>
                    <a:pt x="582" y="127"/>
                    <a:pt x="584" y="129"/>
                    <a:pt x="586" y="132"/>
                  </a:cubicBezTo>
                  <a:cubicBezTo>
                    <a:pt x="586" y="133"/>
                    <a:pt x="587" y="133"/>
                    <a:pt x="587" y="134"/>
                  </a:cubicBezTo>
                  <a:cubicBezTo>
                    <a:pt x="588" y="135"/>
                    <a:pt x="589" y="136"/>
                    <a:pt x="589" y="137"/>
                  </a:cubicBezTo>
                  <a:cubicBezTo>
                    <a:pt x="590" y="138"/>
                    <a:pt x="591" y="139"/>
                    <a:pt x="591" y="140"/>
                  </a:cubicBezTo>
                  <a:cubicBezTo>
                    <a:pt x="593" y="142"/>
                    <a:pt x="596" y="146"/>
                    <a:pt x="598" y="149"/>
                  </a:cubicBezTo>
                  <a:cubicBezTo>
                    <a:pt x="599" y="151"/>
                    <a:pt x="600" y="153"/>
                    <a:pt x="601" y="155"/>
                  </a:cubicBezTo>
                  <a:cubicBezTo>
                    <a:pt x="601" y="155"/>
                    <a:pt x="602" y="156"/>
                    <a:pt x="602" y="156"/>
                  </a:cubicBezTo>
                  <a:cubicBezTo>
                    <a:pt x="603" y="158"/>
                    <a:pt x="604" y="159"/>
                    <a:pt x="605" y="161"/>
                  </a:cubicBezTo>
                  <a:cubicBezTo>
                    <a:pt x="606" y="163"/>
                    <a:pt x="608" y="166"/>
                    <a:pt x="610" y="169"/>
                  </a:cubicBezTo>
                  <a:cubicBezTo>
                    <a:pt x="616" y="181"/>
                    <a:pt x="622" y="194"/>
                    <a:pt x="627" y="207"/>
                  </a:cubicBezTo>
                  <a:cubicBezTo>
                    <a:pt x="628" y="209"/>
                    <a:pt x="629" y="212"/>
                    <a:pt x="629" y="214"/>
                  </a:cubicBezTo>
                  <a:cubicBezTo>
                    <a:pt x="630" y="215"/>
                    <a:pt x="631" y="216"/>
                    <a:pt x="631" y="217"/>
                  </a:cubicBezTo>
                  <a:cubicBezTo>
                    <a:pt x="632" y="219"/>
                    <a:pt x="632" y="221"/>
                    <a:pt x="633" y="224"/>
                  </a:cubicBezTo>
                  <a:cubicBezTo>
                    <a:pt x="636" y="231"/>
                    <a:pt x="638" y="241"/>
                    <a:pt x="640" y="249"/>
                  </a:cubicBezTo>
                  <a:cubicBezTo>
                    <a:pt x="641" y="253"/>
                    <a:pt x="642" y="256"/>
                    <a:pt x="643" y="260"/>
                  </a:cubicBezTo>
                  <a:cubicBezTo>
                    <a:pt x="643" y="264"/>
                    <a:pt x="644" y="268"/>
                    <a:pt x="645" y="272"/>
                  </a:cubicBezTo>
                  <a:cubicBezTo>
                    <a:pt x="645" y="277"/>
                    <a:pt x="646" y="282"/>
                    <a:pt x="647" y="288"/>
                  </a:cubicBezTo>
                  <a:cubicBezTo>
                    <a:pt x="651" y="323"/>
                    <a:pt x="649" y="359"/>
                    <a:pt x="642" y="389"/>
                  </a:cubicBezTo>
                  <a:cubicBezTo>
                    <a:pt x="637" y="414"/>
                    <a:pt x="629" y="437"/>
                    <a:pt x="619" y="458"/>
                  </a:cubicBezTo>
                  <a:cubicBezTo>
                    <a:pt x="617" y="463"/>
                    <a:pt x="616" y="467"/>
                    <a:pt x="614" y="471"/>
                  </a:cubicBezTo>
                  <a:cubicBezTo>
                    <a:pt x="613" y="473"/>
                    <a:pt x="611" y="475"/>
                    <a:pt x="610" y="477"/>
                  </a:cubicBezTo>
                  <a:cubicBezTo>
                    <a:pt x="609" y="479"/>
                    <a:pt x="608" y="481"/>
                    <a:pt x="607" y="483"/>
                  </a:cubicBezTo>
                  <a:cubicBezTo>
                    <a:pt x="603" y="490"/>
                    <a:pt x="598" y="498"/>
                    <a:pt x="593" y="505"/>
                  </a:cubicBezTo>
                  <a:cubicBezTo>
                    <a:pt x="592" y="506"/>
                    <a:pt x="592" y="508"/>
                    <a:pt x="591" y="509"/>
                  </a:cubicBezTo>
                  <a:cubicBezTo>
                    <a:pt x="590" y="510"/>
                    <a:pt x="589" y="511"/>
                    <a:pt x="589" y="512"/>
                  </a:cubicBezTo>
                  <a:cubicBezTo>
                    <a:pt x="588" y="513"/>
                    <a:pt x="586" y="514"/>
                    <a:pt x="586" y="516"/>
                  </a:cubicBezTo>
                  <a:cubicBezTo>
                    <a:pt x="583" y="519"/>
                    <a:pt x="580" y="523"/>
                    <a:pt x="578" y="526"/>
                  </a:cubicBezTo>
                  <a:cubicBezTo>
                    <a:pt x="572" y="533"/>
                    <a:pt x="567" y="540"/>
                    <a:pt x="560" y="546"/>
                  </a:cubicBezTo>
                  <a:cubicBezTo>
                    <a:pt x="557" y="549"/>
                    <a:pt x="554" y="552"/>
                    <a:pt x="551" y="555"/>
                  </a:cubicBezTo>
                  <a:cubicBezTo>
                    <a:pt x="548" y="558"/>
                    <a:pt x="545" y="561"/>
                    <a:pt x="542" y="564"/>
                  </a:cubicBezTo>
                  <a:cubicBezTo>
                    <a:pt x="541" y="565"/>
                    <a:pt x="540" y="565"/>
                    <a:pt x="540" y="566"/>
                  </a:cubicBezTo>
                  <a:cubicBezTo>
                    <a:pt x="539" y="567"/>
                    <a:pt x="538" y="568"/>
                    <a:pt x="537" y="568"/>
                  </a:cubicBezTo>
                  <a:cubicBezTo>
                    <a:pt x="534" y="571"/>
                    <a:pt x="531" y="574"/>
                    <a:pt x="527" y="577"/>
                  </a:cubicBezTo>
                  <a:cubicBezTo>
                    <a:pt x="525" y="578"/>
                    <a:pt x="523" y="580"/>
                    <a:pt x="521" y="582"/>
                  </a:cubicBezTo>
                  <a:cubicBezTo>
                    <a:pt x="520" y="582"/>
                    <a:pt x="520" y="582"/>
                    <a:pt x="519" y="582"/>
                  </a:cubicBezTo>
                  <a:cubicBezTo>
                    <a:pt x="519" y="583"/>
                    <a:pt x="518" y="584"/>
                    <a:pt x="517" y="585"/>
                  </a:cubicBezTo>
                  <a:cubicBezTo>
                    <a:pt x="517" y="585"/>
                    <a:pt x="516" y="585"/>
                    <a:pt x="516" y="585"/>
                  </a:cubicBezTo>
                  <a:cubicBezTo>
                    <a:pt x="515" y="586"/>
                    <a:pt x="514" y="586"/>
                    <a:pt x="513" y="587"/>
                  </a:cubicBezTo>
                  <a:cubicBezTo>
                    <a:pt x="512" y="588"/>
                    <a:pt x="512" y="588"/>
                    <a:pt x="512" y="588"/>
                  </a:cubicBezTo>
                  <a:cubicBezTo>
                    <a:pt x="511" y="589"/>
                    <a:pt x="510" y="589"/>
                    <a:pt x="510" y="589"/>
                  </a:cubicBezTo>
                  <a:cubicBezTo>
                    <a:pt x="509" y="590"/>
                    <a:pt x="509" y="590"/>
                    <a:pt x="509" y="590"/>
                  </a:cubicBezTo>
                  <a:cubicBezTo>
                    <a:pt x="507" y="591"/>
                    <a:pt x="506" y="592"/>
                    <a:pt x="504" y="593"/>
                  </a:cubicBezTo>
                  <a:cubicBezTo>
                    <a:pt x="504" y="593"/>
                    <a:pt x="504" y="594"/>
                    <a:pt x="503" y="594"/>
                  </a:cubicBezTo>
                  <a:cubicBezTo>
                    <a:pt x="502" y="595"/>
                    <a:pt x="501" y="595"/>
                    <a:pt x="500" y="596"/>
                  </a:cubicBezTo>
                  <a:cubicBezTo>
                    <a:pt x="500" y="596"/>
                    <a:pt x="500" y="597"/>
                    <a:pt x="499" y="597"/>
                  </a:cubicBezTo>
                  <a:cubicBezTo>
                    <a:pt x="499" y="597"/>
                    <a:pt x="498" y="597"/>
                    <a:pt x="498" y="598"/>
                  </a:cubicBezTo>
                  <a:cubicBezTo>
                    <a:pt x="496" y="599"/>
                    <a:pt x="494" y="600"/>
                    <a:pt x="492" y="601"/>
                  </a:cubicBezTo>
                  <a:cubicBezTo>
                    <a:pt x="491" y="602"/>
                    <a:pt x="490" y="602"/>
                    <a:pt x="489" y="603"/>
                  </a:cubicBezTo>
                  <a:cubicBezTo>
                    <a:pt x="487" y="604"/>
                    <a:pt x="485" y="605"/>
                    <a:pt x="483" y="606"/>
                  </a:cubicBezTo>
                  <a:cubicBezTo>
                    <a:pt x="483" y="606"/>
                    <a:pt x="482" y="607"/>
                    <a:pt x="482" y="607"/>
                  </a:cubicBezTo>
                  <a:cubicBezTo>
                    <a:pt x="481" y="608"/>
                    <a:pt x="479" y="609"/>
                    <a:pt x="477" y="609"/>
                  </a:cubicBezTo>
                  <a:cubicBezTo>
                    <a:pt x="466" y="616"/>
                    <a:pt x="453" y="621"/>
                    <a:pt x="440" y="627"/>
                  </a:cubicBezTo>
                  <a:cubicBezTo>
                    <a:pt x="432" y="629"/>
                    <a:pt x="424" y="632"/>
                    <a:pt x="416" y="635"/>
                  </a:cubicBezTo>
                  <a:cubicBezTo>
                    <a:pt x="413" y="635"/>
                    <a:pt x="408" y="637"/>
                    <a:pt x="405" y="638"/>
                  </a:cubicBezTo>
                  <a:cubicBezTo>
                    <a:pt x="400" y="639"/>
                    <a:pt x="395" y="640"/>
                    <a:pt x="390" y="641"/>
                  </a:cubicBezTo>
                  <a:cubicBezTo>
                    <a:pt x="357" y="648"/>
                    <a:pt x="318" y="649"/>
                    <a:pt x="281" y="644"/>
                  </a:cubicBezTo>
                  <a:cubicBezTo>
                    <a:pt x="278" y="644"/>
                    <a:pt x="276" y="643"/>
                    <a:pt x="273" y="643"/>
                  </a:cubicBezTo>
                  <a:cubicBezTo>
                    <a:pt x="268" y="642"/>
                    <a:pt x="263" y="641"/>
                    <a:pt x="257" y="640"/>
                  </a:cubicBezTo>
                  <a:cubicBezTo>
                    <a:pt x="228" y="634"/>
                    <a:pt x="201" y="624"/>
                    <a:pt x="177" y="611"/>
                  </a:cubicBezTo>
                  <a:cubicBezTo>
                    <a:pt x="175" y="610"/>
                    <a:pt x="173" y="609"/>
                    <a:pt x="171" y="608"/>
                  </a:cubicBezTo>
                  <a:cubicBezTo>
                    <a:pt x="163" y="604"/>
                    <a:pt x="156" y="599"/>
                    <a:pt x="148" y="595"/>
                  </a:cubicBezTo>
                  <a:cubicBezTo>
                    <a:pt x="148" y="594"/>
                    <a:pt x="148" y="594"/>
                    <a:pt x="147" y="594"/>
                  </a:cubicBezTo>
                  <a:cubicBezTo>
                    <a:pt x="147" y="594"/>
                    <a:pt x="147" y="594"/>
                    <a:pt x="146" y="593"/>
                  </a:cubicBezTo>
                  <a:cubicBezTo>
                    <a:pt x="146" y="593"/>
                    <a:pt x="145" y="592"/>
                    <a:pt x="145" y="592"/>
                  </a:cubicBezTo>
                  <a:cubicBezTo>
                    <a:pt x="144" y="592"/>
                    <a:pt x="144" y="592"/>
                    <a:pt x="144" y="592"/>
                  </a:cubicBezTo>
                  <a:cubicBezTo>
                    <a:pt x="143" y="591"/>
                    <a:pt x="143" y="591"/>
                    <a:pt x="143" y="591"/>
                  </a:cubicBezTo>
                  <a:cubicBezTo>
                    <a:pt x="143" y="591"/>
                    <a:pt x="142" y="591"/>
                    <a:pt x="142" y="590"/>
                  </a:cubicBezTo>
                  <a:cubicBezTo>
                    <a:pt x="141" y="590"/>
                    <a:pt x="140" y="589"/>
                    <a:pt x="139" y="588"/>
                  </a:cubicBezTo>
                  <a:cubicBezTo>
                    <a:pt x="137" y="587"/>
                    <a:pt x="134" y="584"/>
                    <a:pt x="131" y="582"/>
                  </a:cubicBezTo>
                  <a:cubicBezTo>
                    <a:pt x="130" y="581"/>
                    <a:pt x="128" y="581"/>
                    <a:pt x="127" y="580"/>
                  </a:cubicBezTo>
                  <a:cubicBezTo>
                    <a:pt x="127" y="579"/>
                    <a:pt x="126" y="579"/>
                    <a:pt x="126" y="578"/>
                  </a:cubicBezTo>
                  <a:cubicBezTo>
                    <a:pt x="125" y="577"/>
                    <a:pt x="124" y="577"/>
                    <a:pt x="122" y="576"/>
                  </a:cubicBezTo>
                  <a:cubicBezTo>
                    <a:pt x="122" y="575"/>
                    <a:pt x="122" y="575"/>
                    <a:pt x="122" y="575"/>
                  </a:cubicBezTo>
                  <a:cubicBezTo>
                    <a:pt x="121" y="575"/>
                    <a:pt x="121" y="575"/>
                    <a:pt x="120" y="574"/>
                  </a:cubicBezTo>
                  <a:cubicBezTo>
                    <a:pt x="119" y="573"/>
                    <a:pt x="118" y="572"/>
                    <a:pt x="117" y="571"/>
                  </a:cubicBezTo>
                  <a:cubicBezTo>
                    <a:pt x="117" y="571"/>
                    <a:pt x="116" y="571"/>
                    <a:pt x="115" y="570"/>
                  </a:cubicBezTo>
                  <a:cubicBezTo>
                    <a:pt x="115" y="570"/>
                    <a:pt x="115" y="569"/>
                    <a:pt x="114" y="569"/>
                  </a:cubicBezTo>
                  <a:cubicBezTo>
                    <a:pt x="114" y="568"/>
                    <a:pt x="113" y="568"/>
                    <a:pt x="112" y="568"/>
                  </a:cubicBezTo>
                  <a:cubicBezTo>
                    <a:pt x="111" y="566"/>
                    <a:pt x="109" y="564"/>
                    <a:pt x="108" y="563"/>
                  </a:cubicBezTo>
                  <a:cubicBezTo>
                    <a:pt x="107" y="562"/>
                    <a:pt x="105" y="561"/>
                    <a:pt x="104" y="560"/>
                  </a:cubicBezTo>
                  <a:cubicBezTo>
                    <a:pt x="103" y="559"/>
                    <a:pt x="103" y="558"/>
                    <a:pt x="102" y="557"/>
                  </a:cubicBezTo>
                  <a:cubicBezTo>
                    <a:pt x="100" y="555"/>
                    <a:pt x="97" y="554"/>
                    <a:pt x="95" y="552"/>
                  </a:cubicBezTo>
                  <a:cubicBezTo>
                    <a:pt x="94" y="550"/>
                    <a:pt x="94" y="549"/>
                    <a:pt x="93" y="548"/>
                  </a:cubicBezTo>
                  <a:cubicBezTo>
                    <a:pt x="92" y="547"/>
                    <a:pt x="90" y="546"/>
                    <a:pt x="90" y="545"/>
                  </a:cubicBezTo>
                  <a:cubicBezTo>
                    <a:pt x="88" y="543"/>
                    <a:pt x="86" y="541"/>
                    <a:pt x="84" y="539"/>
                  </a:cubicBezTo>
                  <a:cubicBezTo>
                    <a:pt x="83" y="538"/>
                    <a:pt x="82" y="537"/>
                    <a:pt x="81" y="536"/>
                  </a:cubicBezTo>
                  <a:cubicBezTo>
                    <a:pt x="81" y="536"/>
                    <a:pt x="81" y="535"/>
                    <a:pt x="80" y="535"/>
                  </a:cubicBezTo>
                  <a:cubicBezTo>
                    <a:pt x="80" y="534"/>
                    <a:pt x="79" y="534"/>
                    <a:pt x="79" y="533"/>
                  </a:cubicBezTo>
                  <a:cubicBezTo>
                    <a:pt x="78" y="532"/>
                    <a:pt x="77" y="531"/>
                    <a:pt x="75" y="529"/>
                  </a:cubicBezTo>
                  <a:cubicBezTo>
                    <a:pt x="74" y="527"/>
                    <a:pt x="72" y="525"/>
                    <a:pt x="70" y="523"/>
                  </a:cubicBezTo>
                  <a:cubicBezTo>
                    <a:pt x="70" y="522"/>
                    <a:pt x="70" y="522"/>
                    <a:pt x="69" y="522"/>
                  </a:cubicBezTo>
                  <a:cubicBezTo>
                    <a:pt x="69" y="521"/>
                    <a:pt x="69" y="521"/>
                    <a:pt x="68" y="520"/>
                  </a:cubicBezTo>
                  <a:cubicBezTo>
                    <a:pt x="68" y="519"/>
                    <a:pt x="67" y="518"/>
                    <a:pt x="66" y="518"/>
                  </a:cubicBezTo>
                  <a:cubicBezTo>
                    <a:pt x="63" y="513"/>
                    <a:pt x="58" y="507"/>
                    <a:pt x="55" y="501"/>
                  </a:cubicBezTo>
                  <a:cubicBezTo>
                    <a:pt x="54" y="500"/>
                    <a:pt x="54" y="500"/>
                    <a:pt x="53" y="499"/>
                  </a:cubicBezTo>
                  <a:cubicBezTo>
                    <a:pt x="53" y="499"/>
                    <a:pt x="53" y="498"/>
                    <a:pt x="53" y="498"/>
                  </a:cubicBezTo>
                  <a:cubicBezTo>
                    <a:pt x="53" y="497"/>
                    <a:pt x="52" y="497"/>
                    <a:pt x="51" y="496"/>
                  </a:cubicBezTo>
                  <a:cubicBezTo>
                    <a:pt x="51" y="496"/>
                    <a:pt x="51" y="496"/>
                    <a:pt x="51" y="495"/>
                  </a:cubicBezTo>
                  <a:cubicBezTo>
                    <a:pt x="51" y="495"/>
                    <a:pt x="50" y="493"/>
                    <a:pt x="49" y="493"/>
                  </a:cubicBezTo>
                  <a:cubicBezTo>
                    <a:pt x="48" y="491"/>
                    <a:pt x="47" y="490"/>
                    <a:pt x="47" y="488"/>
                  </a:cubicBezTo>
                  <a:cubicBezTo>
                    <a:pt x="41" y="479"/>
                    <a:pt x="36" y="469"/>
                    <a:pt x="32" y="459"/>
                  </a:cubicBezTo>
                  <a:cubicBezTo>
                    <a:pt x="22" y="437"/>
                    <a:pt x="14" y="414"/>
                    <a:pt x="8" y="387"/>
                  </a:cubicBezTo>
                  <a:cubicBezTo>
                    <a:pt x="2" y="360"/>
                    <a:pt x="0" y="327"/>
                    <a:pt x="3" y="298"/>
                  </a:cubicBezTo>
                  <a:cubicBezTo>
                    <a:pt x="6" y="260"/>
                    <a:pt x="15" y="228"/>
                    <a:pt x="27" y="199"/>
                  </a:cubicBezTo>
                  <a:cubicBezTo>
                    <a:pt x="28" y="197"/>
                    <a:pt x="29" y="194"/>
                    <a:pt x="31" y="191"/>
                  </a:cubicBezTo>
                  <a:cubicBezTo>
                    <a:pt x="36" y="178"/>
                    <a:pt x="43" y="165"/>
                    <a:pt x="50" y="154"/>
                  </a:cubicBezTo>
                  <a:cubicBezTo>
                    <a:pt x="63" y="134"/>
                    <a:pt x="76" y="116"/>
                    <a:pt x="92" y="100"/>
                  </a:cubicBezTo>
                  <a:cubicBezTo>
                    <a:pt x="119" y="72"/>
                    <a:pt x="150" y="49"/>
                    <a:pt x="186" y="32"/>
                  </a:cubicBezTo>
                  <a:cubicBezTo>
                    <a:pt x="190" y="30"/>
                    <a:pt x="194" y="28"/>
                    <a:pt x="198" y="26"/>
                  </a:cubicBezTo>
                  <a:cubicBezTo>
                    <a:pt x="200" y="26"/>
                    <a:pt x="202" y="25"/>
                    <a:pt x="204" y="24"/>
                  </a:cubicBezTo>
                  <a:cubicBezTo>
                    <a:pt x="205" y="23"/>
                    <a:pt x="206" y="23"/>
                    <a:pt x="208" y="23"/>
                  </a:cubicBezTo>
                  <a:cubicBezTo>
                    <a:pt x="208" y="23"/>
                    <a:pt x="208" y="22"/>
                    <a:pt x="208" y="22"/>
                  </a:cubicBezTo>
                  <a:cubicBezTo>
                    <a:pt x="209" y="22"/>
                    <a:pt x="210" y="22"/>
                    <a:pt x="211" y="21"/>
                  </a:cubicBezTo>
                  <a:cubicBezTo>
                    <a:pt x="217" y="19"/>
                    <a:pt x="223" y="17"/>
                    <a:pt x="230" y="15"/>
                  </a:cubicBezTo>
                  <a:cubicBezTo>
                    <a:pt x="250" y="9"/>
                    <a:pt x="273" y="4"/>
                    <a:pt x="297" y="1"/>
                  </a:cubicBezTo>
                  <a:cubicBezTo>
                    <a:pt x="310" y="0"/>
                    <a:pt x="324" y="0"/>
                    <a:pt x="338" y="1"/>
                  </a:cubicBezTo>
                  <a:cubicBezTo>
                    <a:pt x="382" y="2"/>
                    <a:pt x="421" y="13"/>
                    <a:pt x="453" y="27"/>
                  </a:cubicBezTo>
                  <a:cubicBezTo>
                    <a:pt x="491" y="43"/>
                    <a:pt x="524" y="66"/>
                    <a:pt x="550" y="91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78" name="íṡ1iḍe"/>
            <p:cNvSpPr/>
            <p:nvPr/>
          </p:nvSpPr>
          <p:spPr bwMode="auto">
            <a:xfrm>
              <a:off x="3282950" y="2673350"/>
              <a:ext cx="69850" cy="74613"/>
            </a:xfrm>
            <a:custGeom>
              <a:avLst/>
              <a:gdLst>
                <a:gd name="T0" fmla="*/ 10 w 26"/>
                <a:gd name="T1" fmla="*/ 2 h 28"/>
                <a:gd name="T2" fmla="*/ 26 w 26"/>
                <a:gd name="T3" fmla="*/ 9 h 28"/>
                <a:gd name="T4" fmla="*/ 23 w 26"/>
                <a:gd name="T5" fmla="*/ 21 h 28"/>
                <a:gd name="T6" fmla="*/ 18 w 26"/>
                <a:gd name="T7" fmla="*/ 27 h 28"/>
                <a:gd name="T8" fmla="*/ 14 w 26"/>
                <a:gd name="T9" fmla="*/ 28 h 28"/>
                <a:gd name="T10" fmla="*/ 2 w 26"/>
                <a:gd name="T11" fmla="*/ 21 h 28"/>
                <a:gd name="T12" fmla="*/ 6 w 26"/>
                <a:gd name="T13" fmla="*/ 4 h 28"/>
                <a:gd name="T14" fmla="*/ 10 w 26"/>
                <a:gd name="T15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8">
                  <a:moveTo>
                    <a:pt x="10" y="2"/>
                  </a:moveTo>
                  <a:cubicBezTo>
                    <a:pt x="18" y="0"/>
                    <a:pt x="24" y="4"/>
                    <a:pt x="26" y="9"/>
                  </a:cubicBezTo>
                  <a:cubicBezTo>
                    <a:pt x="26" y="14"/>
                    <a:pt x="25" y="18"/>
                    <a:pt x="23" y="21"/>
                  </a:cubicBezTo>
                  <a:cubicBezTo>
                    <a:pt x="22" y="24"/>
                    <a:pt x="21" y="26"/>
                    <a:pt x="18" y="27"/>
                  </a:cubicBezTo>
                  <a:cubicBezTo>
                    <a:pt x="17" y="27"/>
                    <a:pt x="15" y="28"/>
                    <a:pt x="14" y="28"/>
                  </a:cubicBezTo>
                  <a:cubicBezTo>
                    <a:pt x="9" y="28"/>
                    <a:pt x="4" y="25"/>
                    <a:pt x="2" y="21"/>
                  </a:cubicBezTo>
                  <a:cubicBezTo>
                    <a:pt x="0" y="15"/>
                    <a:pt x="2" y="9"/>
                    <a:pt x="6" y="4"/>
                  </a:cubicBezTo>
                  <a:cubicBezTo>
                    <a:pt x="7" y="3"/>
                    <a:pt x="8" y="2"/>
                    <a:pt x="10" y="2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79" name="ïṧļîde"/>
            <p:cNvSpPr/>
            <p:nvPr/>
          </p:nvSpPr>
          <p:spPr bwMode="auto">
            <a:xfrm>
              <a:off x="2759075" y="2722563"/>
              <a:ext cx="47625" cy="39688"/>
            </a:xfrm>
            <a:custGeom>
              <a:avLst/>
              <a:gdLst>
                <a:gd name="T0" fmla="*/ 3 w 18"/>
                <a:gd name="T1" fmla="*/ 15 h 15"/>
                <a:gd name="T2" fmla="*/ 0 w 18"/>
                <a:gd name="T3" fmla="*/ 6 h 15"/>
                <a:gd name="T4" fmla="*/ 11 w 18"/>
                <a:gd name="T5" fmla="*/ 0 h 15"/>
                <a:gd name="T6" fmla="*/ 15 w 18"/>
                <a:gd name="T7" fmla="*/ 0 h 15"/>
                <a:gd name="T8" fmla="*/ 18 w 18"/>
                <a:gd name="T9" fmla="*/ 5 h 15"/>
                <a:gd name="T10" fmla="*/ 12 w 18"/>
                <a:gd name="T11" fmla="*/ 11 h 15"/>
                <a:gd name="T12" fmla="*/ 3 w 18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5">
                  <a:moveTo>
                    <a:pt x="3" y="15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3" y="4"/>
                    <a:pt x="7" y="3"/>
                    <a:pt x="11" y="0"/>
                  </a:cubicBezTo>
                  <a:cubicBezTo>
                    <a:pt x="11" y="0"/>
                    <a:pt x="13" y="1"/>
                    <a:pt x="15" y="0"/>
                  </a:cubicBezTo>
                  <a:cubicBezTo>
                    <a:pt x="16" y="2"/>
                    <a:pt x="18" y="3"/>
                    <a:pt x="18" y="5"/>
                  </a:cubicBezTo>
                  <a:cubicBezTo>
                    <a:pt x="18" y="8"/>
                    <a:pt x="15" y="9"/>
                    <a:pt x="12" y="11"/>
                  </a:cubicBezTo>
                  <a:cubicBezTo>
                    <a:pt x="9" y="13"/>
                    <a:pt x="6" y="14"/>
                    <a:pt x="3" y="15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80" name="ïşlïďe"/>
            <p:cNvSpPr/>
            <p:nvPr/>
          </p:nvSpPr>
          <p:spPr bwMode="auto">
            <a:xfrm>
              <a:off x="3546475" y="2794000"/>
              <a:ext cx="46038" cy="42863"/>
            </a:xfrm>
            <a:custGeom>
              <a:avLst/>
              <a:gdLst>
                <a:gd name="T0" fmla="*/ 7 w 17"/>
                <a:gd name="T1" fmla="*/ 0 h 16"/>
                <a:gd name="T2" fmla="*/ 16 w 17"/>
                <a:gd name="T3" fmla="*/ 8 h 16"/>
                <a:gd name="T4" fmla="*/ 10 w 17"/>
                <a:gd name="T5" fmla="*/ 15 h 16"/>
                <a:gd name="T6" fmla="*/ 0 w 17"/>
                <a:gd name="T7" fmla="*/ 8 h 16"/>
                <a:gd name="T8" fmla="*/ 7 w 1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6">
                  <a:moveTo>
                    <a:pt x="7" y="0"/>
                  </a:moveTo>
                  <a:cubicBezTo>
                    <a:pt x="10" y="3"/>
                    <a:pt x="14" y="5"/>
                    <a:pt x="16" y="8"/>
                  </a:cubicBezTo>
                  <a:cubicBezTo>
                    <a:pt x="17" y="14"/>
                    <a:pt x="13" y="16"/>
                    <a:pt x="10" y="15"/>
                  </a:cubicBezTo>
                  <a:cubicBezTo>
                    <a:pt x="6" y="14"/>
                    <a:pt x="2" y="10"/>
                    <a:pt x="0" y="8"/>
                  </a:cubicBezTo>
                  <a:cubicBezTo>
                    <a:pt x="2" y="6"/>
                    <a:pt x="4" y="3"/>
                    <a:pt x="7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81" name="ïš1íḓê"/>
            <p:cNvSpPr/>
            <p:nvPr/>
          </p:nvSpPr>
          <p:spPr bwMode="auto">
            <a:xfrm>
              <a:off x="2947988" y="2916238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82" name="íṣľiḋê"/>
            <p:cNvSpPr/>
            <p:nvPr/>
          </p:nvSpPr>
          <p:spPr bwMode="auto">
            <a:xfrm>
              <a:off x="2947988" y="2916238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83" name="ïṣľíḋé"/>
            <p:cNvSpPr/>
            <p:nvPr/>
          </p:nvSpPr>
          <p:spPr bwMode="auto">
            <a:xfrm>
              <a:off x="2947988" y="2916238"/>
              <a:ext cx="3175" cy="3175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0"/>
                    <a:pt x="1" y="0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84" name="ísḷîḍè"/>
            <p:cNvSpPr/>
            <p:nvPr/>
          </p:nvSpPr>
          <p:spPr bwMode="auto">
            <a:xfrm>
              <a:off x="2951163" y="2919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85" name="îşľîḑè"/>
            <p:cNvSpPr/>
            <p:nvPr/>
          </p:nvSpPr>
          <p:spPr bwMode="auto">
            <a:xfrm>
              <a:off x="2894013" y="2940050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86" name="îšľiḓé"/>
            <p:cNvSpPr/>
            <p:nvPr/>
          </p:nvSpPr>
          <p:spPr bwMode="auto">
            <a:xfrm>
              <a:off x="2894013" y="2940050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87" name="ïşḷíḓê"/>
            <p:cNvSpPr/>
            <p:nvPr/>
          </p:nvSpPr>
          <p:spPr bwMode="auto">
            <a:xfrm>
              <a:off x="3767138" y="3044825"/>
              <a:ext cx="39688" cy="50800"/>
            </a:xfrm>
            <a:custGeom>
              <a:avLst/>
              <a:gdLst>
                <a:gd name="T0" fmla="*/ 0 w 15"/>
                <a:gd name="T1" fmla="*/ 4 h 19"/>
                <a:gd name="T2" fmla="*/ 8 w 15"/>
                <a:gd name="T3" fmla="*/ 0 h 19"/>
                <a:gd name="T4" fmla="*/ 9 w 15"/>
                <a:gd name="T5" fmla="*/ 0 h 19"/>
                <a:gd name="T6" fmla="*/ 12 w 15"/>
                <a:gd name="T7" fmla="*/ 7 h 19"/>
                <a:gd name="T8" fmla="*/ 15 w 15"/>
                <a:gd name="T9" fmla="*/ 14 h 19"/>
                <a:gd name="T10" fmla="*/ 7 w 15"/>
                <a:gd name="T11" fmla="*/ 17 h 19"/>
                <a:gd name="T12" fmla="*/ 0 w 15"/>
                <a:gd name="T13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9">
                  <a:moveTo>
                    <a:pt x="0" y="4"/>
                  </a:moveTo>
                  <a:cubicBezTo>
                    <a:pt x="3" y="3"/>
                    <a:pt x="6" y="2"/>
                    <a:pt x="8" y="0"/>
                  </a:cubicBezTo>
                  <a:cubicBezTo>
                    <a:pt x="8" y="0"/>
                    <a:pt x="8" y="0"/>
                    <a:pt x="9" y="0"/>
                  </a:cubicBezTo>
                  <a:cubicBezTo>
                    <a:pt x="9" y="2"/>
                    <a:pt x="11" y="4"/>
                    <a:pt x="12" y="7"/>
                  </a:cubicBezTo>
                  <a:cubicBezTo>
                    <a:pt x="13" y="9"/>
                    <a:pt x="15" y="12"/>
                    <a:pt x="15" y="14"/>
                  </a:cubicBezTo>
                  <a:cubicBezTo>
                    <a:pt x="15" y="17"/>
                    <a:pt x="11" y="19"/>
                    <a:pt x="7" y="17"/>
                  </a:cubicBezTo>
                  <a:cubicBezTo>
                    <a:pt x="4" y="13"/>
                    <a:pt x="2" y="9"/>
                    <a:pt x="0" y="4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88" name="îşļïḓè"/>
            <p:cNvSpPr/>
            <p:nvPr/>
          </p:nvSpPr>
          <p:spPr bwMode="auto">
            <a:xfrm>
              <a:off x="3459163" y="3076575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89" name="îŝļîḍê"/>
            <p:cNvSpPr/>
            <p:nvPr/>
          </p:nvSpPr>
          <p:spPr bwMode="auto">
            <a:xfrm>
              <a:off x="3459163" y="3076575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90" name="íṡľîḓé"/>
            <p:cNvSpPr/>
            <p:nvPr/>
          </p:nvSpPr>
          <p:spPr bwMode="auto">
            <a:xfrm>
              <a:off x="3783013" y="3159125"/>
              <a:ext cx="73025" cy="69850"/>
            </a:xfrm>
            <a:custGeom>
              <a:avLst/>
              <a:gdLst>
                <a:gd name="T0" fmla="*/ 27 w 27"/>
                <a:gd name="T1" fmla="*/ 16 h 26"/>
                <a:gd name="T2" fmla="*/ 8 w 27"/>
                <a:gd name="T3" fmla="*/ 25 h 26"/>
                <a:gd name="T4" fmla="*/ 0 w 27"/>
                <a:gd name="T5" fmla="*/ 11 h 26"/>
                <a:gd name="T6" fmla="*/ 2 w 27"/>
                <a:gd name="T7" fmla="*/ 8 h 26"/>
                <a:gd name="T8" fmla="*/ 4 w 27"/>
                <a:gd name="T9" fmla="*/ 5 h 26"/>
                <a:gd name="T10" fmla="*/ 14 w 27"/>
                <a:gd name="T11" fmla="*/ 1 h 26"/>
                <a:gd name="T12" fmla="*/ 27 w 27"/>
                <a:gd name="T13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6">
                  <a:moveTo>
                    <a:pt x="27" y="16"/>
                  </a:moveTo>
                  <a:cubicBezTo>
                    <a:pt x="25" y="23"/>
                    <a:pt x="17" y="26"/>
                    <a:pt x="8" y="25"/>
                  </a:cubicBezTo>
                  <a:cubicBezTo>
                    <a:pt x="3" y="23"/>
                    <a:pt x="0" y="19"/>
                    <a:pt x="0" y="11"/>
                  </a:cubicBezTo>
                  <a:cubicBezTo>
                    <a:pt x="0" y="10"/>
                    <a:pt x="1" y="9"/>
                    <a:pt x="2" y="8"/>
                  </a:cubicBezTo>
                  <a:cubicBezTo>
                    <a:pt x="3" y="7"/>
                    <a:pt x="3" y="6"/>
                    <a:pt x="4" y="5"/>
                  </a:cubicBezTo>
                  <a:cubicBezTo>
                    <a:pt x="6" y="3"/>
                    <a:pt x="11" y="1"/>
                    <a:pt x="14" y="1"/>
                  </a:cubicBezTo>
                  <a:cubicBezTo>
                    <a:pt x="22" y="0"/>
                    <a:pt x="27" y="6"/>
                    <a:pt x="27" y="16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91" name="íṧḻiḍè"/>
            <p:cNvSpPr/>
            <p:nvPr/>
          </p:nvSpPr>
          <p:spPr bwMode="auto">
            <a:xfrm>
              <a:off x="3384550" y="3244850"/>
              <a:ext cx="7938" cy="3175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0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1"/>
                    <a:pt x="3" y="0"/>
                    <a:pt x="3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92" name="íšḻïḍè"/>
            <p:cNvSpPr/>
            <p:nvPr/>
          </p:nvSpPr>
          <p:spPr bwMode="auto">
            <a:xfrm>
              <a:off x="2368550" y="3257550"/>
              <a:ext cx="36513" cy="30163"/>
            </a:xfrm>
            <a:custGeom>
              <a:avLst/>
              <a:gdLst>
                <a:gd name="T0" fmla="*/ 14 w 14"/>
                <a:gd name="T1" fmla="*/ 0 h 11"/>
                <a:gd name="T2" fmla="*/ 12 w 14"/>
                <a:gd name="T3" fmla="*/ 11 h 11"/>
                <a:gd name="T4" fmla="*/ 3 w 14"/>
                <a:gd name="T5" fmla="*/ 5 h 11"/>
                <a:gd name="T6" fmla="*/ 0 w 14"/>
                <a:gd name="T7" fmla="*/ 3 h 11"/>
                <a:gd name="T8" fmla="*/ 14 w 14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1">
                  <a:moveTo>
                    <a:pt x="14" y="0"/>
                  </a:moveTo>
                  <a:cubicBezTo>
                    <a:pt x="14" y="4"/>
                    <a:pt x="13" y="8"/>
                    <a:pt x="12" y="11"/>
                  </a:cubicBezTo>
                  <a:cubicBezTo>
                    <a:pt x="9" y="10"/>
                    <a:pt x="6" y="7"/>
                    <a:pt x="3" y="5"/>
                  </a:cubicBezTo>
                  <a:cubicBezTo>
                    <a:pt x="2" y="4"/>
                    <a:pt x="0" y="4"/>
                    <a:pt x="0" y="3"/>
                  </a:cubicBezTo>
                  <a:cubicBezTo>
                    <a:pt x="5" y="2"/>
                    <a:pt x="9" y="1"/>
                    <a:pt x="14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93" name="ïsľïḓé"/>
            <p:cNvSpPr/>
            <p:nvPr/>
          </p:nvSpPr>
          <p:spPr bwMode="auto">
            <a:xfrm>
              <a:off x="3313113" y="3416300"/>
              <a:ext cx="1588" cy="1588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94" name="ïṧlïďê"/>
            <p:cNvSpPr/>
            <p:nvPr/>
          </p:nvSpPr>
          <p:spPr bwMode="auto">
            <a:xfrm>
              <a:off x="3314700" y="3417888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95" name="ïşľîḑè"/>
            <p:cNvSpPr/>
            <p:nvPr/>
          </p:nvSpPr>
          <p:spPr bwMode="auto">
            <a:xfrm>
              <a:off x="3314700" y="3417888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96" name="is1iďê"/>
            <p:cNvSpPr/>
            <p:nvPr/>
          </p:nvSpPr>
          <p:spPr bwMode="auto">
            <a:xfrm>
              <a:off x="3136900" y="3632200"/>
              <a:ext cx="3175" cy="3175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1"/>
                    <a:pt x="1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97" name="ïṣļíḍê"/>
            <p:cNvSpPr/>
            <p:nvPr/>
          </p:nvSpPr>
          <p:spPr bwMode="auto">
            <a:xfrm>
              <a:off x="3322638" y="3636963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98" name="îṧlíďè"/>
            <p:cNvSpPr/>
            <p:nvPr/>
          </p:nvSpPr>
          <p:spPr bwMode="auto">
            <a:xfrm>
              <a:off x="3322638" y="3636963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199" name="íṣļïďe"/>
            <p:cNvSpPr/>
            <p:nvPr/>
          </p:nvSpPr>
          <p:spPr bwMode="auto">
            <a:xfrm>
              <a:off x="3141663" y="3730625"/>
              <a:ext cx="3175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00" name="íṩḻiḋè"/>
            <p:cNvSpPr/>
            <p:nvPr/>
          </p:nvSpPr>
          <p:spPr bwMode="auto">
            <a:xfrm>
              <a:off x="3560763" y="3856038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01" name="ïšlîďè"/>
            <p:cNvSpPr/>
            <p:nvPr/>
          </p:nvSpPr>
          <p:spPr bwMode="auto">
            <a:xfrm>
              <a:off x="3560763" y="3856038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02" name="išlíde"/>
            <p:cNvSpPr/>
            <p:nvPr/>
          </p:nvSpPr>
          <p:spPr bwMode="auto">
            <a:xfrm>
              <a:off x="3560763" y="3859213"/>
              <a:ext cx="1588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03" name="iṩľíḍe"/>
            <p:cNvSpPr/>
            <p:nvPr/>
          </p:nvSpPr>
          <p:spPr bwMode="auto">
            <a:xfrm>
              <a:off x="3003550" y="3922713"/>
              <a:ext cx="46038" cy="74613"/>
            </a:xfrm>
            <a:custGeom>
              <a:avLst/>
              <a:gdLst>
                <a:gd name="T0" fmla="*/ 17 w 17"/>
                <a:gd name="T1" fmla="*/ 0 h 28"/>
                <a:gd name="T2" fmla="*/ 17 w 17"/>
                <a:gd name="T3" fmla="*/ 28 h 28"/>
                <a:gd name="T4" fmla="*/ 9 w 17"/>
                <a:gd name="T5" fmla="*/ 28 h 28"/>
                <a:gd name="T6" fmla="*/ 9 w 17"/>
                <a:gd name="T7" fmla="*/ 10 h 28"/>
                <a:gd name="T8" fmla="*/ 0 w 17"/>
                <a:gd name="T9" fmla="*/ 14 h 28"/>
                <a:gd name="T10" fmla="*/ 0 w 17"/>
                <a:gd name="T11" fmla="*/ 8 h 28"/>
                <a:gd name="T12" fmla="*/ 10 w 17"/>
                <a:gd name="T13" fmla="*/ 0 h 28"/>
                <a:gd name="T14" fmla="*/ 17 w 17"/>
                <a:gd name="T1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28">
                  <a:moveTo>
                    <a:pt x="17" y="0"/>
                  </a:moveTo>
                  <a:cubicBezTo>
                    <a:pt x="17" y="28"/>
                    <a:pt x="17" y="28"/>
                    <a:pt x="17" y="28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6" y="11"/>
                    <a:pt x="4" y="14"/>
                    <a:pt x="0" y="1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5" y="6"/>
                    <a:pt x="8" y="4"/>
                    <a:pt x="10" y="0"/>
                  </a:cubicBezTo>
                  <a:lnTo>
                    <a:pt x="17" y="0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04" name="îṩ1idê"/>
            <p:cNvSpPr/>
            <p:nvPr/>
          </p:nvSpPr>
          <p:spPr bwMode="auto">
            <a:xfrm>
              <a:off x="3067050" y="3919538"/>
              <a:ext cx="61913" cy="80963"/>
            </a:xfrm>
            <a:custGeom>
              <a:avLst/>
              <a:gdLst>
                <a:gd name="T0" fmla="*/ 7 w 23"/>
                <a:gd name="T1" fmla="*/ 8 h 30"/>
                <a:gd name="T2" fmla="*/ 11 w 23"/>
                <a:gd name="T3" fmla="*/ 15 h 30"/>
                <a:gd name="T4" fmla="*/ 13 w 23"/>
                <a:gd name="T5" fmla="*/ 6 h 30"/>
                <a:gd name="T6" fmla="*/ 7 w 23"/>
                <a:gd name="T7" fmla="*/ 8 h 30"/>
                <a:gd name="T8" fmla="*/ 0 w 23"/>
                <a:gd name="T9" fmla="*/ 23 h 30"/>
                <a:gd name="T10" fmla="*/ 7 w 23"/>
                <a:gd name="T11" fmla="*/ 22 h 30"/>
                <a:gd name="T12" fmla="*/ 8 w 23"/>
                <a:gd name="T13" fmla="*/ 24 h 30"/>
                <a:gd name="T14" fmla="*/ 10 w 23"/>
                <a:gd name="T15" fmla="*/ 25 h 30"/>
                <a:gd name="T16" fmla="*/ 14 w 23"/>
                <a:gd name="T17" fmla="*/ 18 h 30"/>
                <a:gd name="T18" fmla="*/ 13 w 23"/>
                <a:gd name="T19" fmla="*/ 19 h 30"/>
                <a:gd name="T20" fmla="*/ 5 w 23"/>
                <a:gd name="T21" fmla="*/ 20 h 30"/>
                <a:gd name="T22" fmla="*/ 0 w 23"/>
                <a:gd name="T23" fmla="*/ 13 h 30"/>
                <a:gd name="T24" fmla="*/ 0 w 23"/>
                <a:gd name="T25" fmla="*/ 8 h 30"/>
                <a:gd name="T26" fmla="*/ 0 w 23"/>
                <a:gd name="T27" fmla="*/ 6 h 30"/>
                <a:gd name="T28" fmla="*/ 1 w 23"/>
                <a:gd name="T29" fmla="*/ 6 h 30"/>
                <a:gd name="T30" fmla="*/ 13 w 23"/>
                <a:gd name="T31" fmla="*/ 1 h 30"/>
                <a:gd name="T32" fmla="*/ 17 w 23"/>
                <a:gd name="T33" fmla="*/ 2 h 30"/>
                <a:gd name="T34" fmla="*/ 22 w 23"/>
                <a:gd name="T35" fmla="*/ 19 h 30"/>
                <a:gd name="T36" fmla="*/ 11 w 23"/>
                <a:gd name="T37" fmla="*/ 30 h 30"/>
                <a:gd name="T38" fmla="*/ 2 w 23"/>
                <a:gd name="T39" fmla="*/ 27 h 30"/>
                <a:gd name="T40" fmla="*/ 0 w 23"/>
                <a:gd name="T41" fmla="*/ 2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" h="30">
                  <a:moveTo>
                    <a:pt x="7" y="8"/>
                  </a:moveTo>
                  <a:cubicBezTo>
                    <a:pt x="7" y="13"/>
                    <a:pt x="8" y="15"/>
                    <a:pt x="11" y="15"/>
                  </a:cubicBezTo>
                  <a:cubicBezTo>
                    <a:pt x="15" y="15"/>
                    <a:pt x="15" y="9"/>
                    <a:pt x="13" y="6"/>
                  </a:cubicBezTo>
                  <a:cubicBezTo>
                    <a:pt x="10" y="5"/>
                    <a:pt x="8" y="7"/>
                    <a:pt x="7" y="8"/>
                  </a:cubicBezTo>
                  <a:close/>
                  <a:moveTo>
                    <a:pt x="0" y="23"/>
                  </a:moveTo>
                  <a:cubicBezTo>
                    <a:pt x="3" y="23"/>
                    <a:pt x="5" y="22"/>
                    <a:pt x="7" y="22"/>
                  </a:cubicBezTo>
                  <a:cubicBezTo>
                    <a:pt x="8" y="22"/>
                    <a:pt x="8" y="23"/>
                    <a:pt x="8" y="24"/>
                  </a:cubicBezTo>
                  <a:cubicBezTo>
                    <a:pt x="9" y="24"/>
                    <a:pt x="10" y="24"/>
                    <a:pt x="10" y="25"/>
                  </a:cubicBezTo>
                  <a:cubicBezTo>
                    <a:pt x="14" y="25"/>
                    <a:pt x="14" y="22"/>
                    <a:pt x="14" y="18"/>
                  </a:cubicBezTo>
                  <a:cubicBezTo>
                    <a:pt x="14" y="17"/>
                    <a:pt x="14" y="19"/>
                    <a:pt x="13" y="19"/>
                  </a:cubicBezTo>
                  <a:cubicBezTo>
                    <a:pt x="11" y="21"/>
                    <a:pt x="7" y="20"/>
                    <a:pt x="5" y="20"/>
                  </a:cubicBezTo>
                  <a:cubicBezTo>
                    <a:pt x="2" y="18"/>
                    <a:pt x="1" y="16"/>
                    <a:pt x="0" y="13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3" y="2"/>
                    <a:pt x="7" y="0"/>
                    <a:pt x="13" y="1"/>
                  </a:cubicBezTo>
                  <a:cubicBezTo>
                    <a:pt x="14" y="1"/>
                    <a:pt x="16" y="2"/>
                    <a:pt x="17" y="2"/>
                  </a:cubicBezTo>
                  <a:cubicBezTo>
                    <a:pt x="21" y="4"/>
                    <a:pt x="23" y="11"/>
                    <a:pt x="22" y="19"/>
                  </a:cubicBezTo>
                  <a:cubicBezTo>
                    <a:pt x="22" y="25"/>
                    <a:pt x="18" y="30"/>
                    <a:pt x="11" y="30"/>
                  </a:cubicBezTo>
                  <a:cubicBezTo>
                    <a:pt x="7" y="30"/>
                    <a:pt x="4" y="29"/>
                    <a:pt x="2" y="27"/>
                  </a:cubicBezTo>
                  <a:cubicBezTo>
                    <a:pt x="2" y="26"/>
                    <a:pt x="0" y="24"/>
                    <a:pt x="0" y="23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05" name="ï$liḑè"/>
            <p:cNvSpPr/>
            <p:nvPr/>
          </p:nvSpPr>
          <p:spPr bwMode="auto">
            <a:xfrm>
              <a:off x="3198813" y="3919538"/>
              <a:ext cx="63500" cy="80963"/>
            </a:xfrm>
            <a:custGeom>
              <a:avLst/>
              <a:gdLst>
                <a:gd name="T0" fmla="*/ 18 w 24"/>
                <a:gd name="T1" fmla="*/ 14 h 30"/>
                <a:gd name="T2" fmla="*/ 22 w 24"/>
                <a:gd name="T3" fmla="*/ 16 h 30"/>
                <a:gd name="T4" fmla="*/ 22 w 24"/>
                <a:gd name="T5" fmla="*/ 25 h 30"/>
                <a:gd name="T6" fmla="*/ 12 w 24"/>
                <a:gd name="T7" fmla="*/ 30 h 30"/>
                <a:gd name="T8" fmla="*/ 0 w 24"/>
                <a:gd name="T9" fmla="*/ 22 h 30"/>
                <a:gd name="T10" fmla="*/ 4 w 24"/>
                <a:gd name="T11" fmla="*/ 21 h 30"/>
                <a:gd name="T12" fmla="*/ 8 w 24"/>
                <a:gd name="T13" fmla="*/ 21 h 30"/>
                <a:gd name="T14" fmla="*/ 12 w 24"/>
                <a:gd name="T15" fmla="*/ 25 h 30"/>
                <a:gd name="T16" fmla="*/ 13 w 24"/>
                <a:gd name="T17" fmla="*/ 17 h 30"/>
                <a:gd name="T18" fmla="*/ 9 w 24"/>
                <a:gd name="T19" fmla="*/ 17 h 30"/>
                <a:gd name="T20" fmla="*/ 10 w 24"/>
                <a:gd name="T21" fmla="*/ 12 h 30"/>
                <a:gd name="T22" fmla="*/ 14 w 24"/>
                <a:gd name="T23" fmla="*/ 10 h 30"/>
                <a:gd name="T24" fmla="*/ 8 w 24"/>
                <a:gd name="T25" fmla="*/ 10 h 30"/>
                <a:gd name="T26" fmla="*/ 0 w 24"/>
                <a:gd name="T27" fmla="*/ 8 h 30"/>
                <a:gd name="T28" fmla="*/ 14 w 24"/>
                <a:gd name="T29" fmla="*/ 1 h 30"/>
                <a:gd name="T30" fmla="*/ 19 w 24"/>
                <a:gd name="T31" fmla="*/ 3 h 30"/>
                <a:gd name="T32" fmla="*/ 18 w 24"/>
                <a:gd name="T33" fmla="*/ 1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30">
                  <a:moveTo>
                    <a:pt x="18" y="14"/>
                  </a:moveTo>
                  <a:cubicBezTo>
                    <a:pt x="19" y="15"/>
                    <a:pt x="21" y="15"/>
                    <a:pt x="22" y="16"/>
                  </a:cubicBezTo>
                  <a:cubicBezTo>
                    <a:pt x="24" y="19"/>
                    <a:pt x="23" y="22"/>
                    <a:pt x="22" y="25"/>
                  </a:cubicBezTo>
                  <a:cubicBezTo>
                    <a:pt x="21" y="28"/>
                    <a:pt x="17" y="30"/>
                    <a:pt x="12" y="30"/>
                  </a:cubicBezTo>
                  <a:cubicBezTo>
                    <a:pt x="6" y="30"/>
                    <a:pt x="1" y="27"/>
                    <a:pt x="0" y="22"/>
                  </a:cubicBezTo>
                  <a:cubicBezTo>
                    <a:pt x="0" y="21"/>
                    <a:pt x="3" y="22"/>
                    <a:pt x="4" y="21"/>
                  </a:cubicBezTo>
                  <a:cubicBezTo>
                    <a:pt x="6" y="22"/>
                    <a:pt x="6" y="21"/>
                    <a:pt x="8" y="21"/>
                  </a:cubicBezTo>
                  <a:cubicBezTo>
                    <a:pt x="9" y="23"/>
                    <a:pt x="10" y="25"/>
                    <a:pt x="12" y="25"/>
                  </a:cubicBezTo>
                  <a:cubicBezTo>
                    <a:pt x="15" y="25"/>
                    <a:pt x="17" y="19"/>
                    <a:pt x="13" y="17"/>
                  </a:cubicBezTo>
                  <a:cubicBezTo>
                    <a:pt x="12" y="17"/>
                    <a:pt x="10" y="17"/>
                    <a:pt x="9" y="17"/>
                  </a:cubicBezTo>
                  <a:cubicBezTo>
                    <a:pt x="9" y="15"/>
                    <a:pt x="9" y="13"/>
                    <a:pt x="10" y="12"/>
                  </a:cubicBezTo>
                  <a:cubicBezTo>
                    <a:pt x="12" y="12"/>
                    <a:pt x="13" y="11"/>
                    <a:pt x="14" y="10"/>
                  </a:cubicBezTo>
                  <a:cubicBezTo>
                    <a:pt x="15" y="4"/>
                    <a:pt x="8" y="5"/>
                    <a:pt x="8" y="10"/>
                  </a:cubicBezTo>
                  <a:cubicBezTo>
                    <a:pt x="6" y="9"/>
                    <a:pt x="3" y="9"/>
                    <a:pt x="0" y="8"/>
                  </a:cubicBezTo>
                  <a:cubicBezTo>
                    <a:pt x="1" y="3"/>
                    <a:pt x="7" y="0"/>
                    <a:pt x="14" y="1"/>
                  </a:cubicBezTo>
                  <a:cubicBezTo>
                    <a:pt x="16" y="1"/>
                    <a:pt x="18" y="2"/>
                    <a:pt x="19" y="3"/>
                  </a:cubicBezTo>
                  <a:cubicBezTo>
                    <a:pt x="23" y="5"/>
                    <a:pt x="23" y="11"/>
                    <a:pt x="18" y="14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06" name="iŝľiḍè"/>
            <p:cNvSpPr/>
            <p:nvPr/>
          </p:nvSpPr>
          <p:spPr bwMode="auto">
            <a:xfrm>
              <a:off x="3132138" y="3922713"/>
              <a:ext cx="63500" cy="77788"/>
            </a:xfrm>
            <a:custGeom>
              <a:avLst/>
              <a:gdLst>
                <a:gd name="T0" fmla="*/ 22 w 24"/>
                <a:gd name="T1" fmla="*/ 0 h 29"/>
                <a:gd name="T2" fmla="*/ 22 w 24"/>
                <a:gd name="T3" fmla="*/ 7 h 29"/>
                <a:gd name="T4" fmla="*/ 10 w 24"/>
                <a:gd name="T5" fmla="*/ 7 h 29"/>
                <a:gd name="T6" fmla="*/ 9 w 24"/>
                <a:gd name="T7" fmla="*/ 10 h 29"/>
                <a:gd name="T8" fmla="*/ 13 w 24"/>
                <a:gd name="T9" fmla="*/ 10 h 29"/>
                <a:gd name="T10" fmla="*/ 16 w 24"/>
                <a:gd name="T11" fmla="*/ 10 h 29"/>
                <a:gd name="T12" fmla="*/ 21 w 24"/>
                <a:gd name="T13" fmla="*/ 12 h 29"/>
                <a:gd name="T14" fmla="*/ 22 w 24"/>
                <a:gd name="T15" fmla="*/ 13 h 29"/>
                <a:gd name="T16" fmla="*/ 23 w 24"/>
                <a:gd name="T17" fmla="*/ 15 h 29"/>
                <a:gd name="T18" fmla="*/ 24 w 24"/>
                <a:gd name="T19" fmla="*/ 18 h 29"/>
                <a:gd name="T20" fmla="*/ 12 w 24"/>
                <a:gd name="T21" fmla="*/ 29 h 29"/>
                <a:gd name="T22" fmla="*/ 5 w 24"/>
                <a:gd name="T23" fmla="*/ 27 h 29"/>
                <a:gd name="T24" fmla="*/ 0 w 24"/>
                <a:gd name="T25" fmla="*/ 21 h 29"/>
                <a:gd name="T26" fmla="*/ 8 w 24"/>
                <a:gd name="T27" fmla="*/ 20 h 29"/>
                <a:gd name="T28" fmla="*/ 9 w 24"/>
                <a:gd name="T29" fmla="*/ 23 h 29"/>
                <a:gd name="T30" fmla="*/ 11 w 24"/>
                <a:gd name="T31" fmla="*/ 24 h 29"/>
                <a:gd name="T32" fmla="*/ 13 w 24"/>
                <a:gd name="T33" fmla="*/ 15 h 29"/>
                <a:gd name="T34" fmla="*/ 8 w 24"/>
                <a:gd name="T35" fmla="*/ 16 h 29"/>
                <a:gd name="T36" fmla="*/ 1 w 24"/>
                <a:gd name="T37" fmla="*/ 16 h 29"/>
                <a:gd name="T38" fmla="*/ 4 w 24"/>
                <a:gd name="T39" fmla="*/ 0 h 29"/>
                <a:gd name="T40" fmla="*/ 22 w 24"/>
                <a:gd name="T4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" h="29">
                  <a:moveTo>
                    <a:pt x="22" y="0"/>
                  </a:moveTo>
                  <a:cubicBezTo>
                    <a:pt x="22" y="7"/>
                    <a:pt x="22" y="7"/>
                    <a:pt x="22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10" y="9"/>
                    <a:pt x="9" y="10"/>
                  </a:cubicBezTo>
                  <a:cubicBezTo>
                    <a:pt x="10" y="11"/>
                    <a:pt x="11" y="10"/>
                    <a:pt x="13" y="10"/>
                  </a:cubicBezTo>
                  <a:cubicBezTo>
                    <a:pt x="14" y="9"/>
                    <a:pt x="15" y="9"/>
                    <a:pt x="16" y="10"/>
                  </a:cubicBezTo>
                  <a:cubicBezTo>
                    <a:pt x="18" y="10"/>
                    <a:pt x="20" y="11"/>
                    <a:pt x="21" y="12"/>
                  </a:cubicBezTo>
                  <a:cubicBezTo>
                    <a:pt x="22" y="13"/>
                    <a:pt x="21" y="13"/>
                    <a:pt x="22" y="13"/>
                  </a:cubicBezTo>
                  <a:cubicBezTo>
                    <a:pt x="22" y="14"/>
                    <a:pt x="23" y="15"/>
                    <a:pt x="23" y="15"/>
                  </a:cubicBezTo>
                  <a:cubicBezTo>
                    <a:pt x="23" y="16"/>
                    <a:pt x="24" y="17"/>
                    <a:pt x="24" y="18"/>
                  </a:cubicBezTo>
                  <a:cubicBezTo>
                    <a:pt x="24" y="25"/>
                    <a:pt x="18" y="29"/>
                    <a:pt x="12" y="29"/>
                  </a:cubicBezTo>
                  <a:cubicBezTo>
                    <a:pt x="10" y="29"/>
                    <a:pt x="6" y="28"/>
                    <a:pt x="5" y="27"/>
                  </a:cubicBezTo>
                  <a:cubicBezTo>
                    <a:pt x="3" y="26"/>
                    <a:pt x="1" y="24"/>
                    <a:pt x="0" y="21"/>
                  </a:cubicBezTo>
                  <a:cubicBezTo>
                    <a:pt x="3" y="21"/>
                    <a:pt x="5" y="20"/>
                    <a:pt x="8" y="20"/>
                  </a:cubicBezTo>
                  <a:cubicBezTo>
                    <a:pt x="9" y="20"/>
                    <a:pt x="8" y="22"/>
                    <a:pt x="9" y="23"/>
                  </a:cubicBezTo>
                  <a:cubicBezTo>
                    <a:pt x="10" y="23"/>
                    <a:pt x="11" y="24"/>
                    <a:pt x="11" y="24"/>
                  </a:cubicBezTo>
                  <a:cubicBezTo>
                    <a:pt x="16" y="25"/>
                    <a:pt x="17" y="15"/>
                    <a:pt x="13" y="15"/>
                  </a:cubicBezTo>
                  <a:cubicBezTo>
                    <a:pt x="10" y="14"/>
                    <a:pt x="9" y="16"/>
                    <a:pt x="8" y="16"/>
                  </a:cubicBezTo>
                  <a:cubicBezTo>
                    <a:pt x="5" y="16"/>
                    <a:pt x="4" y="16"/>
                    <a:pt x="1" y="16"/>
                  </a:cubicBezTo>
                  <a:cubicBezTo>
                    <a:pt x="2" y="11"/>
                    <a:pt x="3" y="5"/>
                    <a:pt x="4" y="0"/>
                  </a:cubicBezTo>
                  <a:lnTo>
                    <a:pt x="22" y="0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07" name="îSḻïde"/>
            <p:cNvSpPr/>
            <p:nvPr/>
          </p:nvSpPr>
          <p:spPr bwMode="auto">
            <a:xfrm>
              <a:off x="3581400" y="3973513"/>
              <a:ext cx="0" cy="3175"/>
            </a:xfrm>
            <a:custGeom>
              <a:avLst/>
              <a:gdLst>
                <a:gd name="T0" fmla="*/ 0 h 1"/>
                <a:gd name="T1" fmla="*/ 0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08" name="iSļíďè"/>
            <p:cNvSpPr/>
            <p:nvPr/>
          </p:nvSpPr>
          <p:spPr bwMode="auto">
            <a:xfrm>
              <a:off x="3581400" y="3973513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09" name="îs1ïḍé"/>
            <p:cNvSpPr/>
            <p:nvPr/>
          </p:nvSpPr>
          <p:spPr bwMode="auto">
            <a:xfrm>
              <a:off x="3581400" y="3973513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10" name="íṧḷíḓé"/>
            <p:cNvSpPr/>
            <p:nvPr/>
          </p:nvSpPr>
          <p:spPr bwMode="auto">
            <a:xfrm>
              <a:off x="2673350" y="3986213"/>
              <a:ext cx="22225" cy="11113"/>
            </a:xfrm>
            <a:custGeom>
              <a:avLst/>
              <a:gdLst>
                <a:gd name="T0" fmla="*/ 4 w 8"/>
                <a:gd name="T1" fmla="*/ 0 h 4"/>
                <a:gd name="T2" fmla="*/ 8 w 8"/>
                <a:gd name="T3" fmla="*/ 2 h 4"/>
                <a:gd name="T4" fmla="*/ 0 w 8"/>
                <a:gd name="T5" fmla="*/ 4 h 4"/>
                <a:gd name="T6" fmla="*/ 4 w 8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4">
                  <a:moveTo>
                    <a:pt x="4" y="0"/>
                  </a:moveTo>
                  <a:cubicBezTo>
                    <a:pt x="5" y="1"/>
                    <a:pt x="7" y="2"/>
                    <a:pt x="8" y="2"/>
                  </a:cubicBezTo>
                  <a:cubicBezTo>
                    <a:pt x="6" y="4"/>
                    <a:pt x="3" y="3"/>
                    <a:pt x="0" y="4"/>
                  </a:cubicBezTo>
                  <a:cubicBezTo>
                    <a:pt x="1" y="3"/>
                    <a:pt x="3" y="1"/>
                    <a:pt x="4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11" name="iSlïḍè"/>
            <p:cNvSpPr/>
            <p:nvPr/>
          </p:nvSpPr>
          <p:spPr bwMode="auto">
            <a:xfrm>
              <a:off x="2822575" y="4083050"/>
              <a:ext cx="7938" cy="20638"/>
            </a:xfrm>
            <a:custGeom>
              <a:avLst/>
              <a:gdLst>
                <a:gd name="T0" fmla="*/ 0 w 3"/>
                <a:gd name="T1" fmla="*/ 1 h 8"/>
                <a:gd name="T2" fmla="*/ 2 w 3"/>
                <a:gd name="T3" fmla="*/ 0 h 8"/>
                <a:gd name="T4" fmla="*/ 3 w 3"/>
                <a:gd name="T5" fmla="*/ 8 h 8"/>
                <a:gd name="T6" fmla="*/ 1 w 3"/>
                <a:gd name="T7" fmla="*/ 4 h 8"/>
                <a:gd name="T8" fmla="*/ 0 w 3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8">
                  <a:moveTo>
                    <a:pt x="0" y="1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2" y="3"/>
                    <a:pt x="3" y="5"/>
                    <a:pt x="3" y="8"/>
                  </a:cubicBezTo>
                  <a:cubicBezTo>
                    <a:pt x="1" y="8"/>
                    <a:pt x="1" y="5"/>
                    <a:pt x="1" y="4"/>
                  </a:cubicBezTo>
                  <a:cubicBezTo>
                    <a:pt x="1" y="3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12" name="ïš1ïḓè"/>
            <p:cNvSpPr/>
            <p:nvPr/>
          </p:nvSpPr>
          <p:spPr bwMode="auto">
            <a:xfrm>
              <a:off x="2786063" y="4095750"/>
              <a:ext cx="36513" cy="14288"/>
            </a:xfrm>
            <a:custGeom>
              <a:avLst/>
              <a:gdLst>
                <a:gd name="T0" fmla="*/ 14 w 14"/>
                <a:gd name="T1" fmla="*/ 2 h 5"/>
                <a:gd name="T2" fmla="*/ 0 w 14"/>
                <a:gd name="T3" fmla="*/ 5 h 5"/>
                <a:gd name="T4" fmla="*/ 6 w 14"/>
                <a:gd name="T5" fmla="*/ 3 h 5"/>
                <a:gd name="T6" fmla="*/ 12 w 14"/>
                <a:gd name="T7" fmla="*/ 1 h 5"/>
                <a:gd name="T8" fmla="*/ 14 w 14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5">
                  <a:moveTo>
                    <a:pt x="14" y="2"/>
                  </a:moveTo>
                  <a:cubicBezTo>
                    <a:pt x="11" y="5"/>
                    <a:pt x="5" y="4"/>
                    <a:pt x="0" y="5"/>
                  </a:cubicBezTo>
                  <a:cubicBezTo>
                    <a:pt x="1" y="3"/>
                    <a:pt x="4" y="4"/>
                    <a:pt x="6" y="3"/>
                  </a:cubicBezTo>
                  <a:cubicBezTo>
                    <a:pt x="8" y="3"/>
                    <a:pt x="11" y="2"/>
                    <a:pt x="12" y="1"/>
                  </a:cubicBezTo>
                  <a:cubicBezTo>
                    <a:pt x="14" y="0"/>
                    <a:pt x="13" y="2"/>
                    <a:pt x="14" y="2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13" name="íṧľide"/>
            <p:cNvSpPr/>
            <p:nvPr/>
          </p:nvSpPr>
          <p:spPr bwMode="auto">
            <a:xfrm>
              <a:off x="3573463" y="4106863"/>
              <a:ext cx="3175" cy="0"/>
            </a:xfrm>
            <a:custGeom>
              <a:avLst/>
              <a:gdLst>
                <a:gd name="T0" fmla="*/ 0 w 1"/>
                <a:gd name="T1" fmla="*/ 0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14" name="íṩľïḑè"/>
            <p:cNvSpPr/>
            <p:nvPr/>
          </p:nvSpPr>
          <p:spPr bwMode="auto">
            <a:xfrm>
              <a:off x="2852738" y="4110038"/>
              <a:ext cx="0" cy="1588"/>
            </a:xfrm>
            <a:custGeom>
              <a:avLst/>
              <a:gdLst>
                <a:gd name="T0" fmla="*/ 0 h 1"/>
                <a:gd name="T1" fmla="*/ 0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15" name="íśľîďé"/>
            <p:cNvSpPr/>
            <p:nvPr/>
          </p:nvSpPr>
          <p:spPr bwMode="auto">
            <a:xfrm>
              <a:off x="2852738" y="4111625"/>
              <a:ext cx="1588" cy="6350"/>
            </a:xfrm>
            <a:custGeom>
              <a:avLst/>
              <a:gdLst>
                <a:gd name="T0" fmla="*/ 0 w 1"/>
                <a:gd name="T1" fmla="*/ 1 h 2"/>
                <a:gd name="T2" fmla="*/ 1 w 1"/>
                <a:gd name="T3" fmla="*/ 1 h 2"/>
                <a:gd name="T4" fmla="*/ 0 w 1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0"/>
                    <a:pt x="1" y="1"/>
                    <a:pt x="1" y="1"/>
                  </a:cubicBezTo>
                  <a:cubicBezTo>
                    <a:pt x="1" y="2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16" name="î$ľiḓe"/>
            <p:cNvSpPr/>
            <p:nvPr/>
          </p:nvSpPr>
          <p:spPr bwMode="auto">
            <a:xfrm>
              <a:off x="2771775" y="4117975"/>
              <a:ext cx="3175" cy="3175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1"/>
                    <a:pt x="1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17" name="ïsḷiḑe"/>
            <p:cNvSpPr/>
            <p:nvPr/>
          </p:nvSpPr>
          <p:spPr bwMode="auto">
            <a:xfrm>
              <a:off x="2774950" y="4122738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18" name="íŝľïḑé"/>
            <p:cNvSpPr/>
            <p:nvPr/>
          </p:nvSpPr>
          <p:spPr bwMode="auto">
            <a:xfrm>
              <a:off x="2774950" y="4122738"/>
              <a:ext cx="0" cy="0"/>
            </a:xfrm>
            <a:prstGeom prst="line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19" name="ísḷîďe"/>
            <p:cNvSpPr/>
            <p:nvPr/>
          </p:nvSpPr>
          <p:spPr bwMode="auto">
            <a:xfrm>
              <a:off x="2838450" y="4122738"/>
              <a:ext cx="3175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20" name="ísļïḑe"/>
            <p:cNvSpPr/>
            <p:nvPr/>
          </p:nvSpPr>
          <p:spPr bwMode="auto">
            <a:xfrm>
              <a:off x="3248025" y="4144963"/>
              <a:ext cx="33338" cy="52388"/>
            </a:xfrm>
            <a:custGeom>
              <a:avLst/>
              <a:gdLst>
                <a:gd name="T0" fmla="*/ 12 w 12"/>
                <a:gd name="T1" fmla="*/ 4 h 20"/>
                <a:gd name="T2" fmla="*/ 10 w 12"/>
                <a:gd name="T3" fmla="*/ 9 h 20"/>
                <a:gd name="T4" fmla="*/ 8 w 12"/>
                <a:gd name="T5" fmla="*/ 12 h 20"/>
                <a:gd name="T6" fmla="*/ 8 w 12"/>
                <a:gd name="T7" fmla="*/ 13 h 20"/>
                <a:gd name="T8" fmla="*/ 7 w 12"/>
                <a:gd name="T9" fmla="*/ 13 h 20"/>
                <a:gd name="T10" fmla="*/ 6 w 12"/>
                <a:gd name="T11" fmla="*/ 15 h 20"/>
                <a:gd name="T12" fmla="*/ 4 w 12"/>
                <a:gd name="T13" fmla="*/ 17 h 20"/>
                <a:gd name="T14" fmla="*/ 4 w 12"/>
                <a:gd name="T15" fmla="*/ 18 h 20"/>
                <a:gd name="T16" fmla="*/ 2 w 12"/>
                <a:gd name="T17" fmla="*/ 20 h 20"/>
                <a:gd name="T18" fmla="*/ 0 w 12"/>
                <a:gd name="T19" fmla="*/ 16 h 20"/>
                <a:gd name="T20" fmla="*/ 2 w 12"/>
                <a:gd name="T21" fmla="*/ 12 h 20"/>
                <a:gd name="T22" fmla="*/ 4 w 12"/>
                <a:gd name="T23" fmla="*/ 8 h 20"/>
                <a:gd name="T24" fmla="*/ 1 w 12"/>
                <a:gd name="T25" fmla="*/ 1 h 20"/>
                <a:gd name="T26" fmla="*/ 12 w 12"/>
                <a:gd name="T27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0">
                  <a:moveTo>
                    <a:pt x="12" y="4"/>
                  </a:moveTo>
                  <a:cubicBezTo>
                    <a:pt x="12" y="6"/>
                    <a:pt x="11" y="7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2"/>
                    <a:pt x="8" y="13"/>
                    <a:pt x="8" y="13"/>
                  </a:cubicBezTo>
                  <a:cubicBezTo>
                    <a:pt x="8" y="13"/>
                    <a:pt x="7" y="13"/>
                    <a:pt x="7" y="13"/>
                  </a:cubicBezTo>
                  <a:cubicBezTo>
                    <a:pt x="7" y="14"/>
                    <a:pt x="7" y="14"/>
                    <a:pt x="6" y="15"/>
                  </a:cubicBezTo>
                  <a:cubicBezTo>
                    <a:pt x="6" y="16"/>
                    <a:pt x="5" y="16"/>
                    <a:pt x="4" y="17"/>
                  </a:cubicBezTo>
                  <a:cubicBezTo>
                    <a:pt x="4" y="17"/>
                    <a:pt x="4" y="18"/>
                    <a:pt x="4" y="18"/>
                  </a:cubicBezTo>
                  <a:cubicBezTo>
                    <a:pt x="3" y="18"/>
                    <a:pt x="3" y="20"/>
                    <a:pt x="2" y="20"/>
                  </a:cubicBezTo>
                  <a:cubicBezTo>
                    <a:pt x="0" y="19"/>
                    <a:pt x="0" y="17"/>
                    <a:pt x="0" y="16"/>
                  </a:cubicBezTo>
                  <a:cubicBezTo>
                    <a:pt x="0" y="14"/>
                    <a:pt x="2" y="13"/>
                    <a:pt x="2" y="12"/>
                  </a:cubicBezTo>
                  <a:cubicBezTo>
                    <a:pt x="3" y="11"/>
                    <a:pt x="3" y="9"/>
                    <a:pt x="4" y="8"/>
                  </a:cubicBezTo>
                  <a:cubicBezTo>
                    <a:pt x="4" y="5"/>
                    <a:pt x="1" y="4"/>
                    <a:pt x="1" y="1"/>
                  </a:cubicBezTo>
                  <a:cubicBezTo>
                    <a:pt x="5" y="0"/>
                    <a:pt x="10" y="1"/>
                    <a:pt x="12" y="4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21" name="ïSḻíḋé"/>
            <p:cNvSpPr/>
            <p:nvPr/>
          </p:nvSpPr>
          <p:spPr bwMode="auto">
            <a:xfrm>
              <a:off x="3195638" y="4149725"/>
              <a:ext cx="44450" cy="63500"/>
            </a:xfrm>
            <a:custGeom>
              <a:avLst/>
              <a:gdLst>
                <a:gd name="T0" fmla="*/ 14 w 17"/>
                <a:gd name="T1" fmla="*/ 0 h 24"/>
                <a:gd name="T2" fmla="*/ 14 w 17"/>
                <a:gd name="T3" fmla="*/ 7 h 24"/>
                <a:gd name="T4" fmla="*/ 11 w 17"/>
                <a:gd name="T5" fmla="*/ 9 h 24"/>
                <a:gd name="T6" fmla="*/ 16 w 17"/>
                <a:gd name="T7" fmla="*/ 14 h 24"/>
                <a:gd name="T8" fmla="*/ 17 w 17"/>
                <a:gd name="T9" fmla="*/ 18 h 24"/>
                <a:gd name="T10" fmla="*/ 15 w 17"/>
                <a:gd name="T11" fmla="*/ 20 h 24"/>
                <a:gd name="T12" fmla="*/ 15 w 17"/>
                <a:gd name="T13" fmla="*/ 23 h 24"/>
                <a:gd name="T14" fmla="*/ 13 w 17"/>
                <a:gd name="T15" fmla="*/ 24 h 24"/>
                <a:gd name="T16" fmla="*/ 8 w 17"/>
                <a:gd name="T17" fmla="*/ 24 h 24"/>
                <a:gd name="T18" fmla="*/ 1 w 17"/>
                <a:gd name="T19" fmla="*/ 18 h 24"/>
                <a:gd name="T20" fmla="*/ 2 w 17"/>
                <a:gd name="T21" fmla="*/ 9 h 24"/>
                <a:gd name="T22" fmla="*/ 6 w 17"/>
                <a:gd name="T23" fmla="*/ 7 h 24"/>
                <a:gd name="T24" fmla="*/ 13 w 17"/>
                <a:gd name="T25" fmla="*/ 0 h 24"/>
                <a:gd name="T26" fmla="*/ 14 w 17"/>
                <a:gd name="T2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24">
                  <a:moveTo>
                    <a:pt x="14" y="0"/>
                  </a:moveTo>
                  <a:cubicBezTo>
                    <a:pt x="15" y="1"/>
                    <a:pt x="14" y="5"/>
                    <a:pt x="14" y="7"/>
                  </a:cubicBezTo>
                  <a:cubicBezTo>
                    <a:pt x="14" y="8"/>
                    <a:pt x="11" y="8"/>
                    <a:pt x="11" y="9"/>
                  </a:cubicBezTo>
                  <a:cubicBezTo>
                    <a:pt x="11" y="11"/>
                    <a:pt x="14" y="12"/>
                    <a:pt x="16" y="14"/>
                  </a:cubicBezTo>
                  <a:cubicBezTo>
                    <a:pt x="16" y="15"/>
                    <a:pt x="16" y="17"/>
                    <a:pt x="17" y="18"/>
                  </a:cubicBezTo>
                  <a:cubicBezTo>
                    <a:pt x="16" y="19"/>
                    <a:pt x="16" y="19"/>
                    <a:pt x="15" y="20"/>
                  </a:cubicBezTo>
                  <a:cubicBezTo>
                    <a:pt x="15" y="21"/>
                    <a:pt x="15" y="22"/>
                    <a:pt x="15" y="23"/>
                  </a:cubicBezTo>
                  <a:cubicBezTo>
                    <a:pt x="14" y="24"/>
                    <a:pt x="13" y="23"/>
                    <a:pt x="13" y="24"/>
                  </a:cubicBezTo>
                  <a:cubicBezTo>
                    <a:pt x="12" y="24"/>
                    <a:pt x="10" y="24"/>
                    <a:pt x="8" y="24"/>
                  </a:cubicBezTo>
                  <a:cubicBezTo>
                    <a:pt x="6" y="22"/>
                    <a:pt x="3" y="21"/>
                    <a:pt x="1" y="18"/>
                  </a:cubicBezTo>
                  <a:cubicBezTo>
                    <a:pt x="0" y="15"/>
                    <a:pt x="2" y="12"/>
                    <a:pt x="2" y="9"/>
                  </a:cubicBezTo>
                  <a:cubicBezTo>
                    <a:pt x="3" y="8"/>
                    <a:pt x="4" y="7"/>
                    <a:pt x="6" y="7"/>
                  </a:cubicBezTo>
                  <a:cubicBezTo>
                    <a:pt x="8" y="5"/>
                    <a:pt x="11" y="3"/>
                    <a:pt x="13" y="0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22" name="ïS1íḍê"/>
            <p:cNvSpPr/>
            <p:nvPr/>
          </p:nvSpPr>
          <p:spPr bwMode="auto">
            <a:xfrm>
              <a:off x="6269038" y="2809875"/>
              <a:ext cx="603250" cy="776288"/>
            </a:xfrm>
            <a:custGeom>
              <a:avLst/>
              <a:gdLst>
                <a:gd name="T0" fmla="*/ 227 w 227"/>
                <a:gd name="T1" fmla="*/ 33 h 291"/>
                <a:gd name="T2" fmla="*/ 201 w 227"/>
                <a:gd name="T3" fmla="*/ 48 h 291"/>
                <a:gd name="T4" fmla="*/ 192 w 227"/>
                <a:gd name="T5" fmla="*/ 63 h 291"/>
                <a:gd name="T6" fmla="*/ 171 w 227"/>
                <a:gd name="T7" fmla="*/ 93 h 291"/>
                <a:gd name="T8" fmla="*/ 158 w 227"/>
                <a:gd name="T9" fmla="*/ 112 h 291"/>
                <a:gd name="T10" fmla="*/ 140 w 227"/>
                <a:gd name="T11" fmla="*/ 137 h 291"/>
                <a:gd name="T12" fmla="*/ 120 w 227"/>
                <a:gd name="T13" fmla="*/ 166 h 291"/>
                <a:gd name="T14" fmla="*/ 103 w 227"/>
                <a:gd name="T15" fmla="*/ 197 h 291"/>
                <a:gd name="T16" fmla="*/ 64 w 227"/>
                <a:gd name="T17" fmla="*/ 253 h 291"/>
                <a:gd name="T18" fmla="*/ 34 w 227"/>
                <a:gd name="T19" fmla="*/ 286 h 291"/>
                <a:gd name="T20" fmla="*/ 0 w 227"/>
                <a:gd name="T21" fmla="*/ 290 h 291"/>
                <a:gd name="T22" fmla="*/ 19 w 227"/>
                <a:gd name="T23" fmla="*/ 274 h 291"/>
                <a:gd name="T24" fmla="*/ 37 w 227"/>
                <a:gd name="T25" fmla="*/ 259 h 291"/>
                <a:gd name="T26" fmla="*/ 75 w 227"/>
                <a:gd name="T27" fmla="*/ 212 h 291"/>
                <a:gd name="T28" fmla="*/ 108 w 227"/>
                <a:gd name="T29" fmla="*/ 161 h 291"/>
                <a:gd name="T30" fmla="*/ 171 w 227"/>
                <a:gd name="T31" fmla="*/ 56 h 291"/>
                <a:gd name="T32" fmla="*/ 118 w 227"/>
                <a:gd name="T33" fmla="*/ 27 h 291"/>
                <a:gd name="T34" fmla="*/ 194 w 227"/>
                <a:gd name="T35" fmla="*/ 0 h 291"/>
                <a:gd name="T36" fmla="*/ 227 w 227"/>
                <a:gd name="T37" fmla="*/ 33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7" h="291">
                  <a:moveTo>
                    <a:pt x="227" y="33"/>
                  </a:moveTo>
                  <a:cubicBezTo>
                    <a:pt x="219" y="38"/>
                    <a:pt x="208" y="40"/>
                    <a:pt x="201" y="48"/>
                  </a:cubicBezTo>
                  <a:cubicBezTo>
                    <a:pt x="198" y="52"/>
                    <a:pt x="195" y="58"/>
                    <a:pt x="192" y="63"/>
                  </a:cubicBezTo>
                  <a:cubicBezTo>
                    <a:pt x="185" y="73"/>
                    <a:pt x="179" y="83"/>
                    <a:pt x="171" y="93"/>
                  </a:cubicBezTo>
                  <a:cubicBezTo>
                    <a:pt x="167" y="99"/>
                    <a:pt x="162" y="106"/>
                    <a:pt x="158" y="112"/>
                  </a:cubicBezTo>
                  <a:cubicBezTo>
                    <a:pt x="154" y="121"/>
                    <a:pt x="146" y="128"/>
                    <a:pt x="140" y="137"/>
                  </a:cubicBezTo>
                  <a:cubicBezTo>
                    <a:pt x="134" y="147"/>
                    <a:pt x="128" y="157"/>
                    <a:pt x="120" y="166"/>
                  </a:cubicBezTo>
                  <a:cubicBezTo>
                    <a:pt x="117" y="176"/>
                    <a:pt x="110" y="186"/>
                    <a:pt x="103" y="197"/>
                  </a:cubicBezTo>
                  <a:cubicBezTo>
                    <a:pt x="92" y="217"/>
                    <a:pt x="79" y="235"/>
                    <a:pt x="64" y="253"/>
                  </a:cubicBezTo>
                  <a:cubicBezTo>
                    <a:pt x="54" y="264"/>
                    <a:pt x="47" y="280"/>
                    <a:pt x="34" y="286"/>
                  </a:cubicBezTo>
                  <a:cubicBezTo>
                    <a:pt x="24" y="291"/>
                    <a:pt x="11" y="290"/>
                    <a:pt x="0" y="290"/>
                  </a:cubicBezTo>
                  <a:cubicBezTo>
                    <a:pt x="4" y="283"/>
                    <a:pt x="12" y="280"/>
                    <a:pt x="19" y="274"/>
                  </a:cubicBezTo>
                  <a:cubicBezTo>
                    <a:pt x="25" y="269"/>
                    <a:pt x="31" y="264"/>
                    <a:pt x="37" y="259"/>
                  </a:cubicBezTo>
                  <a:cubicBezTo>
                    <a:pt x="49" y="243"/>
                    <a:pt x="63" y="229"/>
                    <a:pt x="75" y="212"/>
                  </a:cubicBezTo>
                  <a:cubicBezTo>
                    <a:pt x="87" y="196"/>
                    <a:pt x="97" y="178"/>
                    <a:pt x="108" y="161"/>
                  </a:cubicBezTo>
                  <a:cubicBezTo>
                    <a:pt x="131" y="128"/>
                    <a:pt x="154" y="93"/>
                    <a:pt x="171" y="56"/>
                  </a:cubicBezTo>
                  <a:cubicBezTo>
                    <a:pt x="155" y="50"/>
                    <a:pt x="122" y="50"/>
                    <a:pt x="118" y="27"/>
                  </a:cubicBezTo>
                  <a:cubicBezTo>
                    <a:pt x="151" y="37"/>
                    <a:pt x="179" y="19"/>
                    <a:pt x="194" y="0"/>
                  </a:cubicBezTo>
                  <a:cubicBezTo>
                    <a:pt x="213" y="3"/>
                    <a:pt x="224" y="15"/>
                    <a:pt x="227" y="33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23" name="í$ḻíḑê"/>
            <p:cNvSpPr/>
            <p:nvPr/>
          </p:nvSpPr>
          <p:spPr bwMode="auto">
            <a:xfrm>
              <a:off x="8378825" y="2817813"/>
              <a:ext cx="479425" cy="758825"/>
            </a:xfrm>
            <a:custGeom>
              <a:avLst/>
              <a:gdLst>
                <a:gd name="T0" fmla="*/ 128 w 180"/>
                <a:gd name="T1" fmla="*/ 74 h 284"/>
                <a:gd name="T2" fmla="*/ 130 w 180"/>
                <a:gd name="T3" fmla="*/ 74 h 284"/>
                <a:gd name="T4" fmla="*/ 131 w 180"/>
                <a:gd name="T5" fmla="*/ 67 h 284"/>
                <a:gd name="T6" fmla="*/ 125 w 180"/>
                <a:gd name="T7" fmla="*/ 63 h 284"/>
                <a:gd name="T8" fmla="*/ 128 w 180"/>
                <a:gd name="T9" fmla="*/ 74 h 284"/>
                <a:gd name="T10" fmla="*/ 79 w 180"/>
                <a:gd name="T11" fmla="*/ 0 h 284"/>
                <a:gd name="T12" fmla="*/ 126 w 180"/>
                <a:gd name="T13" fmla="*/ 22 h 284"/>
                <a:gd name="T14" fmla="*/ 129 w 180"/>
                <a:gd name="T15" fmla="*/ 53 h 284"/>
                <a:gd name="T16" fmla="*/ 156 w 180"/>
                <a:gd name="T17" fmla="*/ 67 h 284"/>
                <a:gd name="T18" fmla="*/ 170 w 180"/>
                <a:gd name="T19" fmla="*/ 94 h 284"/>
                <a:gd name="T20" fmla="*/ 180 w 180"/>
                <a:gd name="T21" fmla="*/ 103 h 284"/>
                <a:gd name="T22" fmla="*/ 170 w 180"/>
                <a:gd name="T23" fmla="*/ 123 h 284"/>
                <a:gd name="T24" fmla="*/ 149 w 180"/>
                <a:gd name="T25" fmla="*/ 134 h 284"/>
                <a:gd name="T26" fmla="*/ 126 w 180"/>
                <a:gd name="T27" fmla="*/ 166 h 284"/>
                <a:gd name="T28" fmla="*/ 112 w 180"/>
                <a:gd name="T29" fmla="*/ 175 h 284"/>
                <a:gd name="T30" fmla="*/ 105 w 180"/>
                <a:gd name="T31" fmla="*/ 221 h 284"/>
                <a:gd name="T32" fmla="*/ 80 w 180"/>
                <a:gd name="T33" fmla="*/ 238 h 284"/>
                <a:gd name="T34" fmla="*/ 70 w 180"/>
                <a:gd name="T35" fmla="*/ 259 h 284"/>
                <a:gd name="T36" fmla="*/ 37 w 180"/>
                <a:gd name="T37" fmla="*/ 278 h 284"/>
                <a:gd name="T38" fmla="*/ 18 w 180"/>
                <a:gd name="T39" fmla="*/ 284 h 284"/>
                <a:gd name="T40" fmla="*/ 12 w 180"/>
                <a:gd name="T41" fmla="*/ 276 h 284"/>
                <a:gd name="T42" fmla="*/ 1 w 180"/>
                <a:gd name="T43" fmla="*/ 280 h 284"/>
                <a:gd name="T44" fmla="*/ 9 w 180"/>
                <a:gd name="T45" fmla="*/ 264 h 284"/>
                <a:gd name="T46" fmla="*/ 21 w 180"/>
                <a:gd name="T47" fmla="*/ 247 h 284"/>
                <a:gd name="T48" fmla="*/ 23 w 180"/>
                <a:gd name="T49" fmla="*/ 237 h 284"/>
                <a:gd name="T50" fmla="*/ 38 w 180"/>
                <a:gd name="T51" fmla="*/ 218 h 284"/>
                <a:gd name="T52" fmla="*/ 56 w 180"/>
                <a:gd name="T53" fmla="*/ 206 h 284"/>
                <a:gd name="T54" fmla="*/ 50 w 180"/>
                <a:gd name="T55" fmla="*/ 199 h 284"/>
                <a:gd name="T56" fmla="*/ 55 w 180"/>
                <a:gd name="T57" fmla="*/ 188 h 284"/>
                <a:gd name="T58" fmla="*/ 42 w 180"/>
                <a:gd name="T59" fmla="*/ 171 h 284"/>
                <a:gd name="T60" fmla="*/ 34 w 180"/>
                <a:gd name="T61" fmla="*/ 172 h 284"/>
                <a:gd name="T62" fmla="*/ 13 w 180"/>
                <a:gd name="T63" fmla="*/ 148 h 284"/>
                <a:gd name="T64" fmla="*/ 65 w 180"/>
                <a:gd name="T65" fmla="*/ 139 h 284"/>
                <a:gd name="T66" fmla="*/ 70 w 180"/>
                <a:gd name="T67" fmla="*/ 128 h 284"/>
                <a:gd name="T68" fmla="*/ 81 w 180"/>
                <a:gd name="T69" fmla="*/ 105 h 284"/>
                <a:gd name="T70" fmla="*/ 81 w 180"/>
                <a:gd name="T71" fmla="*/ 67 h 284"/>
                <a:gd name="T72" fmla="*/ 88 w 180"/>
                <a:gd name="T73" fmla="*/ 65 h 284"/>
                <a:gd name="T74" fmla="*/ 87 w 180"/>
                <a:gd name="T75" fmla="*/ 53 h 284"/>
                <a:gd name="T76" fmla="*/ 79 w 180"/>
                <a:gd name="T77" fmla="*/ 35 h 284"/>
                <a:gd name="T78" fmla="*/ 81 w 180"/>
                <a:gd name="T79" fmla="*/ 22 h 284"/>
                <a:gd name="T80" fmla="*/ 79 w 180"/>
                <a:gd name="T81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0" h="284">
                  <a:moveTo>
                    <a:pt x="128" y="74"/>
                  </a:moveTo>
                  <a:cubicBezTo>
                    <a:pt x="128" y="73"/>
                    <a:pt x="129" y="74"/>
                    <a:pt x="130" y="74"/>
                  </a:cubicBezTo>
                  <a:cubicBezTo>
                    <a:pt x="129" y="71"/>
                    <a:pt x="132" y="71"/>
                    <a:pt x="131" y="67"/>
                  </a:cubicBezTo>
                  <a:cubicBezTo>
                    <a:pt x="129" y="66"/>
                    <a:pt x="128" y="59"/>
                    <a:pt x="125" y="63"/>
                  </a:cubicBezTo>
                  <a:cubicBezTo>
                    <a:pt x="129" y="66"/>
                    <a:pt x="125" y="71"/>
                    <a:pt x="128" y="74"/>
                  </a:cubicBezTo>
                  <a:close/>
                  <a:moveTo>
                    <a:pt x="79" y="0"/>
                  </a:moveTo>
                  <a:cubicBezTo>
                    <a:pt x="95" y="7"/>
                    <a:pt x="109" y="16"/>
                    <a:pt x="126" y="22"/>
                  </a:cubicBezTo>
                  <a:cubicBezTo>
                    <a:pt x="126" y="29"/>
                    <a:pt x="127" y="44"/>
                    <a:pt x="129" y="53"/>
                  </a:cubicBezTo>
                  <a:cubicBezTo>
                    <a:pt x="140" y="55"/>
                    <a:pt x="145" y="72"/>
                    <a:pt x="156" y="67"/>
                  </a:cubicBezTo>
                  <a:cubicBezTo>
                    <a:pt x="159" y="77"/>
                    <a:pt x="173" y="82"/>
                    <a:pt x="170" y="94"/>
                  </a:cubicBezTo>
                  <a:cubicBezTo>
                    <a:pt x="173" y="98"/>
                    <a:pt x="178" y="98"/>
                    <a:pt x="180" y="103"/>
                  </a:cubicBezTo>
                  <a:cubicBezTo>
                    <a:pt x="175" y="108"/>
                    <a:pt x="175" y="118"/>
                    <a:pt x="170" y="123"/>
                  </a:cubicBezTo>
                  <a:cubicBezTo>
                    <a:pt x="165" y="130"/>
                    <a:pt x="157" y="130"/>
                    <a:pt x="149" y="134"/>
                  </a:cubicBezTo>
                  <a:cubicBezTo>
                    <a:pt x="142" y="146"/>
                    <a:pt x="123" y="144"/>
                    <a:pt x="126" y="166"/>
                  </a:cubicBezTo>
                  <a:cubicBezTo>
                    <a:pt x="122" y="169"/>
                    <a:pt x="116" y="171"/>
                    <a:pt x="112" y="175"/>
                  </a:cubicBezTo>
                  <a:cubicBezTo>
                    <a:pt x="109" y="186"/>
                    <a:pt x="100" y="202"/>
                    <a:pt x="105" y="221"/>
                  </a:cubicBezTo>
                  <a:cubicBezTo>
                    <a:pt x="95" y="226"/>
                    <a:pt x="86" y="230"/>
                    <a:pt x="80" y="238"/>
                  </a:cubicBezTo>
                  <a:cubicBezTo>
                    <a:pt x="75" y="244"/>
                    <a:pt x="75" y="253"/>
                    <a:pt x="70" y="259"/>
                  </a:cubicBezTo>
                  <a:cubicBezTo>
                    <a:pt x="54" y="261"/>
                    <a:pt x="47" y="271"/>
                    <a:pt x="37" y="278"/>
                  </a:cubicBezTo>
                  <a:cubicBezTo>
                    <a:pt x="28" y="275"/>
                    <a:pt x="24" y="282"/>
                    <a:pt x="18" y="284"/>
                  </a:cubicBezTo>
                  <a:cubicBezTo>
                    <a:pt x="14" y="283"/>
                    <a:pt x="12" y="281"/>
                    <a:pt x="12" y="276"/>
                  </a:cubicBezTo>
                  <a:cubicBezTo>
                    <a:pt x="7" y="276"/>
                    <a:pt x="8" y="281"/>
                    <a:pt x="1" y="280"/>
                  </a:cubicBezTo>
                  <a:cubicBezTo>
                    <a:pt x="0" y="271"/>
                    <a:pt x="6" y="269"/>
                    <a:pt x="9" y="264"/>
                  </a:cubicBezTo>
                  <a:cubicBezTo>
                    <a:pt x="9" y="254"/>
                    <a:pt x="17" y="252"/>
                    <a:pt x="21" y="247"/>
                  </a:cubicBezTo>
                  <a:cubicBezTo>
                    <a:pt x="22" y="243"/>
                    <a:pt x="22" y="243"/>
                    <a:pt x="23" y="237"/>
                  </a:cubicBezTo>
                  <a:cubicBezTo>
                    <a:pt x="30" y="233"/>
                    <a:pt x="34" y="225"/>
                    <a:pt x="38" y="218"/>
                  </a:cubicBezTo>
                  <a:cubicBezTo>
                    <a:pt x="49" y="222"/>
                    <a:pt x="51" y="211"/>
                    <a:pt x="56" y="206"/>
                  </a:cubicBezTo>
                  <a:cubicBezTo>
                    <a:pt x="56" y="201"/>
                    <a:pt x="52" y="201"/>
                    <a:pt x="50" y="199"/>
                  </a:cubicBezTo>
                  <a:cubicBezTo>
                    <a:pt x="51" y="194"/>
                    <a:pt x="52" y="190"/>
                    <a:pt x="55" y="188"/>
                  </a:cubicBezTo>
                  <a:cubicBezTo>
                    <a:pt x="53" y="179"/>
                    <a:pt x="45" y="178"/>
                    <a:pt x="42" y="171"/>
                  </a:cubicBezTo>
                  <a:cubicBezTo>
                    <a:pt x="39" y="171"/>
                    <a:pt x="38" y="173"/>
                    <a:pt x="34" y="172"/>
                  </a:cubicBezTo>
                  <a:cubicBezTo>
                    <a:pt x="28" y="164"/>
                    <a:pt x="14" y="162"/>
                    <a:pt x="13" y="148"/>
                  </a:cubicBezTo>
                  <a:cubicBezTo>
                    <a:pt x="31" y="153"/>
                    <a:pt x="55" y="151"/>
                    <a:pt x="65" y="139"/>
                  </a:cubicBezTo>
                  <a:cubicBezTo>
                    <a:pt x="68" y="137"/>
                    <a:pt x="68" y="132"/>
                    <a:pt x="70" y="128"/>
                  </a:cubicBezTo>
                  <a:cubicBezTo>
                    <a:pt x="74" y="121"/>
                    <a:pt x="79" y="116"/>
                    <a:pt x="81" y="105"/>
                  </a:cubicBezTo>
                  <a:cubicBezTo>
                    <a:pt x="78" y="96"/>
                    <a:pt x="83" y="83"/>
                    <a:pt x="81" y="67"/>
                  </a:cubicBezTo>
                  <a:cubicBezTo>
                    <a:pt x="83" y="64"/>
                    <a:pt x="86" y="66"/>
                    <a:pt x="88" y="65"/>
                  </a:cubicBezTo>
                  <a:cubicBezTo>
                    <a:pt x="88" y="61"/>
                    <a:pt x="84" y="56"/>
                    <a:pt x="87" y="53"/>
                  </a:cubicBezTo>
                  <a:cubicBezTo>
                    <a:pt x="83" y="49"/>
                    <a:pt x="79" y="42"/>
                    <a:pt x="79" y="35"/>
                  </a:cubicBezTo>
                  <a:cubicBezTo>
                    <a:pt x="78" y="31"/>
                    <a:pt x="81" y="26"/>
                    <a:pt x="81" y="22"/>
                  </a:cubicBezTo>
                  <a:cubicBezTo>
                    <a:pt x="81" y="14"/>
                    <a:pt x="75" y="7"/>
                    <a:pt x="79" y="0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24" name="iṩḷîḍê"/>
            <p:cNvSpPr/>
            <p:nvPr/>
          </p:nvSpPr>
          <p:spPr bwMode="auto">
            <a:xfrm>
              <a:off x="7464425" y="2833688"/>
              <a:ext cx="657225" cy="720725"/>
            </a:xfrm>
            <a:custGeom>
              <a:avLst/>
              <a:gdLst>
                <a:gd name="T0" fmla="*/ 108 w 247"/>
                <a:gd name="T1" fmla="*/ 102 h 270"/>
                <a:gd name="T2" fmla="*/ 65 w 247"/>
                <a:gd name="T3" fmla="*/ 134 h 270"/>
                <a:gd name="T4" fmla="*/ 38 w 247"/>
                <a:gd name="T5" fmla="*/ 146 h 270"/>
                <a:gd name="T6" fmla="*/ 25 w 247"/>
                <a:gd name="T7" fmla="*/ 181 h 270"/>
                <a:gd name="T8" fmla="*/ 29 w 247"/>
                <a:gd name="T9" fmla="*/ 193 h 270"/>
                <a:gd name="T10" fmla="*/ 29 w 247"/>
                <a:gd name="T11" fmla="*/ 200 h 270"/>
                <a:gd name="T12" fmla="*/ 46 w 247"/>
                <a:gd name="T13" fmla="*/ 219 h 270"/>
                <a:gd name="T14" fmla="*/ 65 w 247"/>
                <a:gd name="T15" fmla="*/ 235 h 270"/>
                <a:gd name="T16" fmla="*/ 74 w 247"/>
                <a:gd name="T17" fmla="*/ 235 h 270"/>
                <a:gd name="T18" fmla="*/ 99 w 247"/>
                <a:gd name="T19" fmla="*/ 231 h 270"/>
                <a:gd name="T20" fmla="*/ 102 w 247"/>
                <a:gd name="T21" fmla="*/ 219 h 270"/>
                <a:gd name="T22" fmla="*/ 112 w 247"/>
                <a:gd name="T23" fmla="*/ 206 h 270"/>
                <a:gd name="T24" fmla="*/ 111 w 247"/>
                <a:gd name="T25" fmla="*/ 183 h 270"/>
                <a:gd name="T26" fmla="*/ 95 w 247"/>
                <a:gd name="T27" fmla="*/ 145 h 270"/>
                <a:gd name="T28" fmla="*/ 108 w 247"/>
                <a:gd name="T29" fmla="*/ 146 h 270"/>
                <a:gd name="T30" fmla="*/ 116 w 247"/>
                <a:gd name="T31" fmla="*/ 105 h 270"/>
                <a:gd name="T32" fmla="*/ 108 w 247"/>
                <a:gd name="T33" fmla="*/ 102 h 270"/>
                <a:gd name="T34" fmla="*/ 183 w 247"/>
                <a:gd name="T35" fmla="*/ 177 h 270"/>
                <a:gd name="T36" fmla="*/ 205 w 247"/>
                <a:gd name="T37" fmla="*/ 147 h 270"/>
                <a:gd name="T38" fmla="*/ 215 w 247"/>
                <a:gd name="T39" fmla="*/ 132 h 270"/>
                <a:gd name="T40" fmla="*/ 192 w 247"/>
                <a:gd name="T41" fmla="*/ 108 h 270"/>
                <a:gd name="T42" fmla="*/ 155 w 247"/>
                <a:gd name="T43" fmla="*/ 102 h 270"/>
                <a:gd name="T44" fmla="*/ 154 w 247"/>
                <a:gd name="T45" fmla="*/ 104 h 270"/>
                <a:gd name="T46" fmla="*/ 167 w 247"/>
                <a:gd name="T47" fmla="*/ 145 h 270"/>
                <a:gd name="T48" fmla="*/ 161 w 247"/>
                <a:gd name="T49" fmla="*/ 154 h 270"/>
                <a:gd name="T50" fmla="*/ 155 w 247"/>
                <a:gd name="T51" fmla="*/ 165 h 270"/>
                <a:gd name="T52" fmla="*/ 136 w 247"/>
                <a:gd name="T53" fmla="*/ 183 h 270"/>
                <a:gd name="T54" fmla="*/ 140 w 247"/>
                <a:gd name="T55" fmla="*/ 212 h 270"/>
                <a:gd name="T56" fmla="*/ 183 w 247"/>
                <a:gd name="T57" fmla="*/ 177 h 270"/>
                <a:gd name="T58" fmla="*/ 120 w 247"/>
                <a:gd name="T59" fmla="*/ 0 h 270"/>
                <a:gd name="T60" fmla="*/ 137 w 247"/>
                <a:gd name="T61" fmla="*/ 6 h 270"/>
                <a:gd name="T62" fmla="*/ 147 w 247"/>
                <a:gd name="T63" fmla="*/ 88 h 270"/>
                <a:gd name="T64" fmla="*/ 173 w 247"/>
                <a:gd name="T65" fmla="*/ 95 h 270"/>
                <a:gd name="T66" fmla="*/ 209 w 247"/>
                <a:gd name="T67" fmla="*/ 104 h 270"/>
                <a:gd name="T68" fmla="*/ 227 w 247"/>
                <a:gd name="T69" fmla="*/ 111 h 270"/>
                <a:gd name="T70" fmla="*/ 246 w 247"/>
                <a:gd name="T71" fmla="*/ 138 h 270"/>
                <a:gd name="T72" fmla="*/ 235 w 247"/>
                <a:gd name="T73" fmla="*/ 158 h 270"/>
                <a:gd name="T74" fmla="*/ 219 w 247"/>
                <a:gd name="T75" fmla="*/ 170 h 270"/>
                <a:gd name="T76" fmla="*/ 210 w 247"/>
                <a:gd name="T77" fmla="*/ 185 h 270"/>
                <a:gd name="T78" fmla="*/ 201 w 247"/>
                <a:gd name="T79" fmla="*/ 198 h 270"/>
                <a:gd name="T80" fmla="*/ 179 w 247"/>
                <a:gd name="T81" fmla="*/ 219 h 270"/>
                <a:gd name="T82" fmla="*/ 189 w 247"/>
                <a:gd name="T83" fmla="*/ 240 h 270"/>
                <a:gd name="T84" fmla="*/ 186 w 247"/>
                <a:gd name="T85" fmla="*/ 258 h 270"/>
                <a:gd name="T86" fmla="*/ 123 w 247"/>
                <a:gd name="T87" fmla="*/ 257 h 270"/>
                <a:gd name="T88" fmla="*/ 86 w 247"/>
                <a:gd name="T89" fmla="*/ 263 h 270"/>
                <a:gd name="T90" fmla="*/ 71 w 247"/>
                <a:gd name="T91" fmla="*/ 250 h 270"/>
                <a:gd name="T92" fmla="*/ 67 w 247"/>
                <a:gd name="T93" fmla="*/ 244 h 270"/>
                <a:gd name="T94" fmla="*/ 53 w 247"/>
                <a:gd name="T95" fmla="*/ 234 h 270"/>
                <a:gd name="T96" fmla="*/ 23 w 247"/>
                <a:gd name="T97" fmla="*/ 209 h 270"/>
                <a:gd name="T98" fmla="*/ 13 w 247"/>
                <a:gd name="T99" fmla="*/ 183 h 270"/>
                <a:gd name="T100" fmla="*/ 0 w 247"/>
                <a:gd name="T101" fmla="*/ 172 h 270"/>
                <a:gd name="T102" fmla="*/ 62 w 247"/>
                <a:gd name="T103" fmla="*/ 116 h 270"/>
                <a:gd name="T104" fmla="*/ 115 w 247"/>
                <a:gd name="T105" fmla="*/ 89 h 270"/>
                <a:gd name="T106" fmla="*/ 120 w 247"/>
                <a:gd name="T107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7" h="270">
                  <a:moveTo>
                    <a:pt x="108" y="102"/>
                  </a:moveTo>
                  <a:cubicBezTo>
                    <a:pt x="97" y="116"/>
                    <a:pt x="78" y="123"/>
                    <a:pt x="65" y="134"/>
                  </a:cubicBezTo>
                  <a:cubicBezTo>
                    <a:pt x="54" y="132"/>
                    <a:pt x="46" y="141"/>
                    <a:pt x="38" y="146"/>
                  </a:cubicBezTo>
                  <a:cubicBezTo>
                    <a:pt x="39" y="159"/>
                    <a:pt x="27" y="168"/>
                    <a:pt x="25" y="181"/>
                  </a:cubicBezTo>
                  <a:cubicBezTo>
                    <a:pt x="25" y="186"/>
                    <a:pt x="28" y="188"/>
                    <a:pt x="29" y="193"/>
                  </a:cubicBezTo>
                  <a:cubicBezTo>
                    <a:pt x="30" y="196"/>
                    <a:pt x="28" y="199"/>
                    <a:pt x="29" y="200"/>
                  </a:cubicBezTo>
                  <a:cubicBezTo>
                    <a:pt x="32" y="205"/>
                    <a:pt x="39" y="212"/>
                    <a:pt x="46" y="219"/>
                  </a:cubicBezTo>
                  <a:cubicBezTo>
                    <a:pt x="51" y="225"/>
                    <a:pt x="59" y="234"/>
                    <a:pt x="65" y="235"/>
                  </a:cubicBezTo>
                  <a:cubicBezTo>
                    <a:pt x="67" y="236"/>
                    <a:pt x="71" y="235"/>
                    <a:pt x="74" y="235"/>
                  </a:cubicBezTo>
                  <a:cubicBezTo>
                    <a:pt x="85" y="237"/>
                    <a:pt x="93" y="238"/>
                    <a:pt x="99" y="231"/>
                  </a:cubicBezTo>
                  <a:cubicBezTo>
                    <a:pt x="101" y="228"/>
                    <a:pt x="100" y="223"/>
                    <a:pt x="102" y="219"/>
                  </a:cubicBezTo>
                  <a:cubicBezTo>
                    <a:pt x="105" y="213"/>
                    <a:pt x="111" y="211"/>
                    <a:pt x="112" y="206"/>
                  </a:cubicBezTo>
                  <a:cubicBezTo>
                    <a:pt x="114" y="199"/>
                    <a:pt x="110" y="192"/>
                    <a:pt x="111" y="183"/>
                  </a:cubicBezTo>
                  <a:cubicBezTo>
                    <a:pt x="104" y="175"/>
                    <a:pt x="74" y="153"/>
                    <a:pt x="95" y="145"/>
                  </a:cubicBezTo>
                  <a:cubicBezTo>
                    <a:pt x="99" y="148"/>
                    <a:pt x="101" y="146"/>
                    <a:pt x="108" y="146"/>
                  </a:cubicBezTo>
                  <a:cubicBezTo>
                    <a:pt x="113" y="135"/>
                    <a:pt x="115" y="120"/>
                    <a:pt x="116" y="105"/>
                  </a:cubicBezTo>
                  <a:cubicBezTo>
                    <a:pt x="113" y="104"/>
                    <a:pt x="112" y="101"/>
                    <a:pt x="108" y="102"/>
                  </a:cubicBezTo>
                  <a:close/>
                  <a:moveTo>
                    <a:pt x="183" y="177"/>
                  </a:moveTo>
                  <a:cubicBezTo>
                    <a:pt x="193" y="165"/>
                    <a:pt x="197" y="160"/>
                    <a:pt x="205" y="147"/>
                  </a:cubicBezTo>
                  <a:cubicBezTo>
                    <a:pt x="209" y="142"/>
                    <a:pt x="215" y="136"/>
                    <a:pt x="215" y="132"/>
                  </a:cubicBezTo>
                  <a:cubicBezTo>
                    <a:pt x="215" y="124"/>
                    <a:pt x="198" y="110"/>
                    <a:pt x="192" y="108"/>
                  </a:cubicBezTo>
                  <a:cubicBezTo>
                    <a:pt x="184" y="104"/>
                    <a:pt x="161" y="102"/>
                    <a:pt x="155" y="102"/>
                  </a:cubicBezTo>
                  <a:cubicBezTo>
                    <a:pt x="154" y="102"/>
                    <a:pt x="154" y="103"/>
                    <a:pt x="154" y="104"/>
                  </a:cubicBezTo>
                  <a:cubicBezTo>
                    <a:pt x="151" y="118"/>
                    <a:pt x="169" y="131"/>
                    <a:pt x="167" y="145"/>
                  </a:cubicBezTo>
                  <a:cubicBezTo>
                    <a:pt x="167" y="148"/>
                    <a:pt x="164" y="150"/>
                    <a:pt x="161" y="154"/>
                  </a:cubicBezTo>
                  <a:cubicBezTo>
                    <a:pt x="159" y="158"/>
                    <a:pt x="158" y="162"/>
                    <a:pt x="155" y="165"/>
                  </a:cubicBezTo>
                  <a:cubicBezTo>
                    <a:pt x="150" y="172"/>
                    <a:pt x="140" y="177"/>
                    <a:pt x="136" y="183"/>
                  </a:cubicBezTo>
                  <a:cubicBezTo>
                    <a:pt x="132" y="191"/>
                    <a:pt x="134" y="201"/>
                    <a:pt x="140" y="212"/>
                  </a:cubicBezTo>
                  <a:cubicBezTo>
                    <a:pt x="156" y="203"/>
                    <a:pt x="171" y="190"/>
                    <a:pt x="183" y="177"/>
                  </a:cubicBezTo>
                  <a:close/>
                  <a:moveTo>
                    <a:pt x="120" y="0"/>
                  </a:moveTo>
                  <a:cubicBezTo>
                    <a:pt x="125" y="5"/>
                    <a:pt x="131" y="4"/>
                    <a:pt x="137" y="6"/>
                  </a:cubicBezTo>
                  <a:cubicBezTo>
                    <a:pt x="148" y="30"/>
                    <a:pt x="147" y="51"/>
                    <a:pt x="147" y="88"/>
                  </a:cubicBezTo>
                  <a:cubicBezTo>
                    <a:pt x="153" y="93"/>
                    <a:pt x="164" y="97"/>
                    <a:pt x="173" y="95"/>
                  </a:cubicBezTo>
                  <a:cubicBezTo>
                    <a:pt x="181" y="101"/>
                    <a:pt x="196" y="100"/>
                    <a:pt x="209" y="104"/>
                  </a:cubicBezTo>
                  <a:cubicBezTo>
                    <a:pt x="215" y="106"/>
                    <a:pt x="220" y="111"/>
                    <a:pt x="227" y="111"/>
                  </a:cubicBezTo>
                  <a:cubicBezTo>
                    <a:pt x="231" y="118"/>
                    <a:pt x="245" y="129"/>
                    <a:pt x="246" y="138"/>
                  </a:cubicBezTo>
                  <a:cubicBezTo>
                    <a:pt x="247" y="144"/>
                    <a:pt x="241" y="152"/>
                    <a:pt x="235" y="158"/>
                  </a:cubicBezTo>
                  <a:cubicBezTo>
                    <a:pt x="231" y="162"/>
                    <a:pt x="223" y="164"/>
                    <a:pt x="219" y="170"/>
                  </a:cubicBezTo>
                  <a:cubicBezTo>
                    <a:pt x="215" y="174"/>
                    <a:pt x="214" y="181"/>
                    <a:pt x="210" y="185"/>
                  </a:cubicBezTo>
                  <a:cubicBezTo>
                    <a:pt x="207" y="189"/>
                    <a:pt x="204" y="195"/>
                    <a:pt x="201" y="198"/>
                  </a:cubicBezTo>
                  <a:cubicBezTo>
                    <a:pt x="195" y="204"/>
                    <a:pt x="180" y="209"/>
                    <a:pt x="179" y="219"/>
                  </a:cubicBezTo>
                  <a:cubicBezTo>
                    <a:pt x="179" y="226"/>
                    <a:pt x="188" y="232"/>
                    <a:pt x="189" y="240"/>
                  </a:cubicBezTo>
                  <a:cubicBezTo>
                    <a:pt x="189" y="246"/>
                    <a:pt x="188" y="249"/>
                    <a:pt x="186" y="258"/>
                  </a:cubicBezTo>
                  <a:cubicBezTo>
                    <a:pt x="170" y="261"/>
                    <a:pt x="140" y="266"/>
                    <a:pt x="123" y="257"/>
                  </a:cubicBezTo>
                  <a:cubicBezTo>
                    <a:pt x="109" y="262"/>
                    <a:pt x="100" y="270"/>
                    <a:pt x="86" y="263"/>
                  </a:cubicBezTo>
                  <a:cubicBezTo>
                    <a:pt x="82" y="261"/>
                    <a:pt x="75" y="254"/>
                    <a:pt x="71" y="250"/>
                  </a:cubicBezTo>
                  <a:cubicBezTo>
                    <a:pt x="69" y="248"/>
                    <a:pt x="69" y="245"/>
                    <a:pt x="67" y="244"/>
                  </a:cubicBezTo>
                  <a:cubicBezTo>
                    <a:pt x="62" y="240"/>
                    <a:pt x="58" y="239"/>
                    <a:pt x="53" y="234"/>
                  </a:cubicBezTo>
                  <a:cubicBezTo>
                    <a:pt x="45" y="227"/>
                    <a:pt x="31" y="216"/>
                    <a:pt x="23" y="209"/>
                  </a:cubicBezTo>
                  <a:cubicBezTo>
                    <a:pt x="21" y="199"/>
                    <a:pt x="15" y="193"/>
                    <a:pt x="13" y="183"/>
                  </a:cubicBezTo>
                  <a:cubicBezTo>
                    <a:pt x="11" y="177"/>
                    <a:pt x="3" y="178"/>
                    <a:pt x="0" y="172"/>
                  </a:cubicBezTo>
                  <a:cubicBezTo>
                    <a:pt x="4" y="141"/>
                    <a:pt x="39" y="130"/>
                    <a:pt x="62" y="116"/>
                  </a:cubicBezTo>
                  <a:cubicBezTo>
                    <a:pt x="80" y="105"/>
                    <a:pt x="94" y="89"/>
                    <a:pt x="115" y="89"/>
                  </a:cubicBezTo>
                  <a:cubicBezTo>
                    <a:pt x="123" y="62"/>
                    <a:pt x="116" y="28"/>
                    <a:pt x="120" y="0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25" name="iSliďé"/>
            <p:cNvSpPr/>
            <p:nvPr/>
          </p:nvSpPr>
          <p:spPr bwMode="auto">
            <a:xfrm>
              <a:off x="5707063" y="2873375"/>
              <a:ext cx="133350" cy="109538"/>
            </a:xfrm>
            <a:custGeom>
              <a:avLst/>
              <a:gdLst>
                <a:gd name="T0" fmla="*/ 48 w 50"/>
                <a:gd name="T1" fmla="*/ 15 h 41"/>
                <a:gd name="T2" fmla="*/ 50 w 50"/>
                <a:gd name="T3" fmla="*/ 34 h 41"/>
                <a:gd name="T4" fmla="*/ 28 w 50"/>
                <a:gd name="T5" fmla="*/ 39 h 41"/>
                <a:gd name="T6" fmla="*/ 1 w 50"/>
                <a:gd name="T7" fmla="*/ 8 h 41"/>
                <a:gd name="T8" fmla="*/ 3 w 50"/>
                <a:gd name="T9" fmla="*/ 1 h 41"/>
                <a:gd name="T10" fmla="*/ 15 w 50"/>
                <a:gd name="T11" fmla="*/ 2 h 41"/>
                <a:gd name="T12" fmla="*/ 17 w 50"/>
                <a:gd name="T13" fmla="*/ 0 h 41"/>
                <a:gd name="T14" fmla="*/ 48 w 50"/>
                <a:gd name="T15" fmla="*/ 1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41">
                  <a:moveTo>
                    <a:pt x="48" y="15"/>
                  </a:moveTo>
                  <a:cubicBezTo>
                    <a:pt x="46" y="22"/>
                    <a:pt x="50" y="27"/>
                    <a:pt x="50" y="34"/>
                  </a:cubicBezTo>
                  <a:cubicBezTo>
                    <a:pt x="42" y="38"/>
                    <a:pt x="35" y="41"/>
                    <a:pt x="28" y="39"/>
                  </a:cubicBezTo>
                  <a:cubicBezTo>
                    <a:pt x="15" y="36"/>
                    <a:pt x="10" y="15"/>
                    <a:pt x="1" y="8"/>
                  </a:cubicBezTo>
                  <a:cubicBezTo>
                    <a:pt x="0" y="4"/>
                    <a:pt x="4" y="5"/>
                    <a:pt x="3" y="1"/>
                  </a:cubicBezTo>
                  <a:cubicBezTo>
                    <a:pt x="8" y="0"/>
                    <a:pt x="10" y="3"/>
                    <a:pt x="15" y="2"/>
                  </a:cubicBezTo>
                  <a:cubicBezTo>
                    <a:pt x="15" y="1"/>
                    <a:pt x="17" y="1"/>
                    <a:pt x="17" y="0"/>
                  </a:cubicBezTo>
                  <a:cubicBezTo>
                    <a:pt x="28" y="5"/>
                    <a:pt x="40" y="8"/>
                    <a:pt x="48" y="15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26" name="íşľîḋé"/>
            <p:cNvSpPr/>
            <p:nvPr/>
          </p:nvSpPr>
          <p:spPr bwMode="auto">
            <a:xfrm>
              <a:off x="7399338" y="2919413"/>
              <a:ext cx="98425" cy="161925"/>
            </a:xfrm>
            <a:custGeom>
              <a:avLst/>
              <a:gdLst>
                <a:gd name="T0" fmla="*/ 16 w 37"/>
                <a:gd name="T1" fmla="*/ 1 h 61"/>
                <a:gd name="T2" fmla="*/ 20 w 37"/>
                <a:gd name="T3" fmla="*/ 2 h 61"/>
                <a:gd name="T4" fmla="*/ 35 w 37"/>
                <a:gd name="T5" fmla="*/ 57 h 61"/>
                <a:gd name="T6" fmla="*/ 28 w 37"/>
                <a:gd name="T7" fmla="*/ 61 h 61"/>
                <a:gd name="T8" fmla="*/ 0 w 37"/>
                <a:gd name="T9" fmla="*/ 51 h 61"/>
                <a:gd name="T10" fmla="*/ 12 w 37"/>
                <a:gd name="T11" fmla="*/ 5 h 61"/>
                <a:gd name="T12" fmla="*/ 16 w 37"/>
                <a:gd name="T13" fmla="*/ 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61">
                  <a:moveTo>
                    <a:pt x="16" y="1"/>
                  </a:moveTo>
                  <a:cubicBezTo>
                    <a:pt x="18" y="0"/>
                    <a:pt x="18" y="2"/>
                    <a:pt x="20" y="2"/>
                  </a:cubicBezTo>
                  <a:cubicBezTo>
                    <a:pt x="26" y="19"/>
                    <a:pt x="37" y="35"/>
                    <a:pt x="35" y="57"/>
                  </a:cubicBezTo>
                  <a:cubicBezTo>
                    <a:pt x="33" y="59"/>
                    <a:pt x="30" y="60"/>
                    <a:pt x="28" y="61"/>
                  </a:cubicBezTo>
                  <a:cubicBezTo>
                    <a:pt x="19" y="58"/>
                    <a:pt x="13" y="51"/>
                    <a:pt x="0" y="51"/>
                  </a:cubicBezTo>
                  <a:cubicBezTo>
                    <a:pt x="6" y="38"/>
                    <a:pt x="16" y="24"/>
                    <a:pt x="12" y="5"/>
                  </a:cubicBezTo>
                  <a:cubicBezTo>
                    <a:pt x="14" y="4"/>
                    <a:pt x="17" y="4"/>
                    <a:pt x="16" y="1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27" name="iSľïďè"/>
            <p:cNvSpPr/>
            <p:nvPr/>
          </p:nvSpPr>
          <p:spPr bwMode="auto">
            <a:xfrm>
              <a:off x="5335588" y="2973388"/>
              <a:ext cx="84138" cy="525463"/>
            </a:xfrm>
            <a:custGeom>
              <a:avLst/>
              <a:gdLst>
                <a:gd name="T0" fmla="*/ 8 w 32"/>
                <a:gd name="T1" fmla="*/ 0 h 197"/>
                <a:gd name="T2" fmla="*/ 11 w 32"/>
                <a:gd name="T3" fmla="*/ 1 h 197"/>
                <a:gd name="T4" fmla="*/ 18 w 32"/>
                <a:gd name="T5" fmla="*/ 53 h 197"/>
                <a:gd name="T6" fmla="*/ 21 w 32"/>
                <a:gd name="T7" fmla="*/ 126 h 197"/>
                <a:gd name="T8" fmla="*/ 21 w 32"/>
                <a:gd name="T9" fmla="*/ 163 h 197"/>
                <a:gd name="T10" fmla="*/ 24 w 32"/>
                <a:gd name="T11" fmla="*/ 195 h 197"/>
                <a:gd name="T12" fmla="*/ 3 w 32"/>
                <a:gd name="T13" fmla="*/ 182 h 197"/>
                <a:gd name="T14" fmla="*/ 2 w 32"/>
                <a:gd name="T15" fmla="*/ 143 h 197"/>
                <a:gd name="T16" fmla="*/ 6 w 32"/>
                <a:gd name="T17" fmla="*/ 34 h 197"/>
                <a:gd name="T18" fmla="*/ 8 w 32"/>
                <a:gd name="T19" fmla="*/ 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97">
                  <a:moveTo>
                    <a:pt x="8" y="0"/>
                  </a:moveTo>
                  <a:cubicBezTo>
                    <a:pt x="10" y="0"/>
                    <a:pt x="10" y="0"/>
                    <a:pt x="11" y="1"/>
                  </a:cubicBezTo>
                  <a:cubicBezTo>
                    <a:pt x="19" y="16"/>
                    <a:pt x="17" y="35"/>
                    <a:pt x="18" y="53"/>
                  </a:cubicBezTo>
                  <a:cubicBezTo>
                    <a:pt x="18" y="79"/>
                    <a:pt x="20" y="102"/>
                    <a:pt x="21" y="126"/>
                  </a:cubicBezTo>
                  <a:cubicBezTo>
                    <a:pt x="22" y="138"/>
                    <a:pt x="20" y="151"/>
                    <a:pt x="21" y="163"/>
                  </a:cubicBezTo>
                  <a:cubicBezTo>
                    <a:pt x="23" y="173"/>
                    <a:pt x="32" y="186"/>
                    <a:pt x="24" y="195"/>
                  </a:cubicBezTo>
                  <a:cubicBezTo>
                    <a:pt x="18" y="197"/>
                    <a:pt x="6" y="188"/>
                    <a:pt x="3" y="182"/>
                  </a:cubicBezTo>
                  <a:cubicBezTo>
                    <a:pt x="0" y="175"/>
                    <a:pt x="2" y="158"/>
                    <a:pt x="2" y="143"/>
                  </a:cubicBezTo>
                  <a:cubicBezTo>
                    <a:pt x="2" y="105"/>
                    <a:pt x="5" y="63"/>
                    <a:pt x="6" y="34"/>
                  </a:cubicBezTo>
                  <a:cubicBezTo>
                    <a:pt x="6" y="22"/>
                    <a:pt x="5" y="11"/>
                    <a:pt x="8" y="0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28" name="îSḷîḍé"/>
            <p:cNvSpPr/>
            <p:nvPr/>
          </p:nvSpPr>
          <p:spPr bwMode="auto">
            <a:xfrm>
              <a:off x="9515475" y="3048000"/>
              <a:ext cx="11113" cy="12700"/>
            </a:xfrm>
            <a:custGeom>
              <a:avLst/>
              <a:gdLst>
                <a:gd name="T0" fmla="*/ 1 w 4"/>
                <a:gd name="T1" fmla="*/ 0 h 5"/>
                <a:gd name="T2" fmla="*/ 2 w 4"/>
                <a:gd name="T3" fmla="*/ 5 h 5"/>
                <a:gd name="T4" fmla="*/ 1 w 4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1" y="0"/>
                  </a:moveTo>
                  <a:cubicBezTo>
                    <a:pt x="4" y="1"/>
                    <a:pt x="4" y="4"/>
                    <a:pt x="2" y="5"/>
                  </a:cubicBezTo>
                  <a:cubicBezTo>
                    <a:pt x="0" y="5"/>
                    <a:pt x="0" y="2"/>
                    <a:pt x="1" y="0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29" name="íşļîḓe"/>
            <p:cNvSpPr/>
            <p:nvPr/>
          </p:nvSpPr>
          <p:spPr bwMode="auto">
            <a:xfrm>
              <a:off x="9528175" y="3057525"/>
              <a:ext cx="34925" cy="30163"/>
            </a:xfrm>
            <a:custGeom>
              <a:avLst/>
              <a:gdLst>
                <a:gd name="T0" fmla="*/ 0 w 13"/>
                <a:gd name="T1" fmla="*/ 0 h 11"/>
                <a:gd name="T2" fmla="*/ 13 w 13"/>
                <a:gd name="T3" fmla="*/ 5 h 11"/>
                <a:gd name="T4" fmla="*/ 0 w 13"/>
                <a:gd name="T5" fmla="*/ 11 h 11"/>
                <a:gd name="T6" fmla="*/ 0 w 13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0" y="0"/>
                  </a:moveTo>
                  <a:cubicBezTo>
                    <a:pt x="4" y="2"/>
                    <a:pt x="7" y="8"/>
                    <a:pt x="13" y="5"/>
                  </a:cubicBezTo>
                  <a:cubicBezTo>
                    <a:pt x="12" y="10"/>
                    <a:pt x="7" y="11"/>
                    <a:pt x="0" y="1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30" name="í$ḷiḋe"/>
            <p:cNvSpPr/>
            <p:nvPr/>
          </p:nvSpPr>
          <p:spPr bwMode="auto">
            <a:xfrm>
              <a:off x="4302125" y="3081338"/>
              <a:ext cx="301625" cy="168275"/>
            </a:xfrm>
            <a:custGeom>
              <a:avLst/>
              <a:gdLst>
                <a:gd name="T0" fmla="*/ 112 w 113"/>
                <a:gd name="T1" fmla="*/ 63 h 63"/>
                <a:gd name="T2" fmla="*/ 68 w 113"/>
                <a:gd name="T3" fmla="*/ 36 h 63"/>
                <a:gd name="T4" fmla="*/ 0 w 113"/>
                <a:gd name="T5" fmla="*/ 5 h 63"/>
                <a:gd name="T6" fmla="*/ 1 w 113"/>
                <a:gd name="T7" fmla="*/ 2 h 63"/>
                <a:gd name="T8" fmla="*/ 4 w 113"/>
                <a:gd name="T9" fmla="*/ 0 h 63"/>
                <a:gd name="T10" fmla="*/ 35 w 113"/>
                <a:gd name="T11" fmla="*/ 5 h 63"/>
                <a:gd name="T12" fmla="*/ 36 w 113"/>
                <a:gd name="T13" fmla="*/ 8 h 63"/>
                <a:gd name="T14" fmla="*/ 38 w 113"/>
                <a:gd name="T15" fmla="*/ 6 h 63"/>
                <a:gd name="T16" fmla="*/ 56 w 113"/>
                <a:gd name="T17" fmla="*/ 15 h 63"/>
                <a:gd name="T18" fmla="*/ 77 w 113"/>
                <a:gd name="T19" fmla="*/ 23 h 63"/>
                <a:gd name="T20" fmla="*/ 91 w 113"/>
                <a:gd name="T21" fmla="*/ 34 h 63"/>
                <a:gd name="T22" fmla="*/ 111 w 113"/>
                <a:gd name="T23" fmla="*/ 48 h 63"/>
                <a:gd name="T24" fmla="*/ 112 w 113"/>
                <a:gd name="T2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" h="63">
                  <a:moveTo>
                    <a:pt x="112" y="63"/>
                  </a:moveTo>
                  <a:cubicBezTo>
                    <a:pt x="91" y="60"/>
                    <a:pt x="84" y="44"/>
                    <a:pt x="68" y="36"/>
                  </a:cubicBezTo>
                  <a:cubicBezTo>
                    <a:pt x="42" y="29"/>
                    <a:pt x="14" y="24"/>
                    <a:pt x="0" y="5"/>
                  </a:cubicBezTo>
                  <a:cubicBezTo>
                    <a:pt x="0" y="3"/>
                    <a:pt x="1" y="3"/>
                    <a:pt x="1" y="2"/>
                  </a:cubicBezTo>
                  <a:cubicBezTo>
                    <a:pt x="2" y="1"/>
                    <a:pt x="3" y="0"/>
                    <a:pt x="4" y="0"/>
                  </a:cubicBezTo>
                  <a:cubicBezTo>
                    <a:pt x="13" y="2"/>
                    <a:pt x="25" y="2"/>
                    <a:pt x="35" y="5"/>
                  </a:cubicBezTo>
                  <a:cubicBezTo>
                    <a:pt x="35" y="5"/>
                    <a:pt x="36" y="8"/>
                    <a:pt x="36" y="8"/>
                  </a:cubicBezTo>
                  <a:cubicBezTo>
                    <a:pt x="37" y="8"/>
                    <a:pt x="38" y="6"/>
                    <a:pt x="38" y="6"/>
                  </a:cubicBezTo>
                  <a:cubicBezTo>
                    <a:pt x="45" y="9"/>
                    <a:pt x="50" y="12"/>
                    <a:pt x="56" y="15"/>
                  </a:cubicBezTo>
                  <a:cubicBezTo>
                    <a:pt x="63" y="18"/>
                    <a:pt x="70" y="20"/>
                    <a:pt x="77" y="23"/>
                  </a:cubicBezTo>
                  <a:cubicBezTo>
                    <a:pt x="82" y="26"/>
                    <a:pt x="85" y="31"/>
                    <a:pt x="91" y="34"/>
                  </a:cubicBezTo>
                  <a:cubicBezTo>
                    <a:pt x="98" y="38"/>
                    <a:pt x="107" y="40"/>
                    <a:pt x="111" y="48"/>
                  </a:cubicBezTo>
                  <a:cubicBezTo>
                    <a:pt x="113" y="53"/>
                    <a:pt x="113" y="58"/>
                    <a:pt x="112" y="63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31" name="íŝ1íďè"/>
            <p:cNvSpPr/>
            <p:nvPr/>
          </p:nvSpPr>
          <p:spPr bwMode="auto">
            <a:xfrm>
              <a:off x="9412288" y="3119438"/>
              <a:ext cx="444500" cy="557213"/>
            </a:xfrm>
            <a:custGeom>
              <a:avLst/>
              <a:gdLst>
                <a:gd name="T0" fmla="*/ 122 w 167"/>
                <a:gd name="T1" fmla="*/ 68 h 209"/>
                <a:gd name="T2" fmla="*/ 164 w 167"/>
                <a:gd name="T3" fmla="*/ 88 h 209"/>
                <a:gd name="T4" fmla="*/ 149 w 167"/>
                <a:gd name="T5" fmla="*/ 100 h 209"/>
                <a:gd name="T6" fmla="*/ 128 w 167"/>
                <a:gd name="T7" fmla="*/ 106 h 209"/>
                <a:gd name="T8" fmla="*/ 128 w 167"/>
                <a:gd name="T9" fmla="*/ 145 h 209"/>
                <a:gd name="T10" fmla="*/ 119 w 167"/>
                <a:gd name="T11" fmla="*/ 167 h 209"/>
                <a:gd name="T12" fmla="*/ 103 w 167"/>
                <a:gd name="T13" fmla="*/ 188 h 209"/>
                <a:gd name="T14" fmla="*/ 82 w 167"/>
                <a:gd name="T15" fmla="*/ 202 h 209"/>
                <a:gd name="T16" fmla="*/ 29 w 167"/>
                <a:gd name="T17" fmla="*/ 202 h 209"/>
                <a:gd name="T18" fmla="*/ 2 w 167"/>
                <a:gd name="T19" fmla="*/ 190 h 209"/>
                <a:gd name="T20" fmla="*/ 0 w 167"/>
                <a:gd name="T21" fmla="*/ 177 h 209"/>
                <a:gd name="T22" fmla="*/ 74 w 167"/>
                <a:gd name="T23" fmla="*/ 167 h 209"/>
                <a:gd name="T24" fmla="*/ 101 w 167"/>
                <a:gd name="T25" fmla="*/ 114 h 209"/>
                <a:gd name="T26" fmla="*/ 69 w 167"/>
                <a:gd name="T27" fmla="*/ 106 h 209"/>
                <a:gd name="T28" fmla="*/ 52 w 167"/>
                <a:gd name="T29" fmla="*/ 114 h 209"/>
                <a:gd name="T30" fmla="*/ 10 w 167"/>
                <a:gd name="T31" fmla="*/ 84 h 209"/>
                <a:gd name="T32" fmla="*/ 35 w 167"/>
                <a:gd name="T33" fmla="*/ 90 h 209"/>
                <a:gd name="T34" fmla="*/ 68 w 167"/>
                <a:gd name="T35" fmla="*/ 82 h 209"/>
                <a:gd name="T36" fmla="*/ 91 w 167"/>
                <a:gd name="T37" fmla="*/ 75 h 209"/>
                <a:gd name="T38" fmla="*/ 77 w 167"/>
                <a:gd name="T39" fmla="*/ 69 h 209"/>
                <a:gd name="T40" fmla="*/ 82 w 167"/>
                <a:gd name="T41" fmla="*/ 21 h 209"/>
                <a:gd name="T42" fmla="*/ 62 w 167"/>
                <a:gd name="T43" fmla="*/ 28 h 209"/>
                <a:gd name="T44" fmla="*/ 31 w 167"/>
                <a:gd name="T45" fmla="*/ 15 h 209"/>
                <a:gd name="T46" fmla="*/ 60 w 167"/>
                <a:gd name="T47" fmla="*/ 14 h 209"/>
                <a:gd name="T48" fmla="*/ 85 w 167"/>
                <a:gd name="T49" fmla="*/ 0 h 209"/>
                <a:gd name="T50" fmla="*/ 126 w 167"/>
                <a:gd name="T51" fmla="*/ 8 h 209"/>
                <a:gd name="T52" fmla="*/ 111 w 167"/>
                <a:gd name="T53" fmla="*/ 50 h 209"/>
                <a:gd name="T54" fmla="*/ 122 w 167"/>
                <a:gd name="T55" fmla="*/ 68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7" h="209">
                  <a:moveTo>
                    <a:pt x="122" y="68"/>
                  </a:moveTo>
                  <a:cubicBezTo>
                    <a:pt x="144" y="64"/>
                    <a:pt x="167" y="72"/>
                    <a:pt x="164" y="88"/>
                  </a:cubicBezTo>
                  <a:cubicBezTo>
                    <a:pt x="163" y="96"/>
                    <a:pt x="154" y="94"/>
                    <a:pt x="149" y="100"/>
                  </a:cubicBezTo>
                  <a:cubicBezTo>
                    <a:pt x="141" y="96"/>
                    <a:pt x="133" y="101"/>
                    <a:pt x="128" y="106"/>
                  </a:cubicBezTo>
                  <a:cubicBezTo>
                    <a:pt x="127" y="121"/>
                    <a:pt x="130" y="134"/>
                    <a:pt x="128" y="145"/>
                  </a:cubicBezTo>
                  <a:cubicBezTo>
                    <a:pt x="127" y="151"/>
                    <a:pt x="122" y="160"/>
                    <a:pt x="119" y="167"/>
                  </a:cubicBezTo>
                  <a:cubicBezTo>
                    <a:pt x="115" y="175"/>
                    <a:pt x="109" y="181"/>
                    <a:pt x="103" y="188"/>
                  </a:cubicBezTo>
                  <a:cubicBezTo>
                    <a:pt x="94" y="187"/>
                    <a:pt x="90" y="199"/>
                    <a:pt x="82" y="202"/>
                  </a:cubicBezTo>
                  <a:cubicBezTo>
                    <a:pt x="64" y="209"/>
                    <a:pt x="41" y="198"/>
                    <a:pt x="29" y="202"/>
                  </a:cubicBezTo>
                  <a:cubicBezTo>
                    <a:pt x="20" y="199"/>
                    <a:pt x="9" y="197"/>
                    <a:pt x="2" y="190"/>
                  </a:cubicBezTo>
                  <a:cubicBezTo>
                    <a:pt x="0" y="187"/>
                    <a:pt x="1" y="181"/>
                    <a:pt x="0" y="177"/>
                  </a:cubicBezTo>
                  <a:cubicBezTo>
                    <a:pt x="19" y="185"/>
                    <a:pt x="54" y="179"/>
                    <a:pt x="74" y="167"/>
                  </a:cubicBezTo>
                  <a:cubicBezTo>
                    <a:pt x="92" y="156"/>
                    <a:pt x="103" y="137"/>
                    <a:pt x="101" y="114"/>
                  </a:cubicBezTo>
                  <a:cubicBezTo>
                    <a:pt x="94" y="104"/>
                    <a:pt x="79" y="109"/>
                    <a:pt x="69" y="106"/>
                  </a:cubicBezTo>
                  <a:cubicBezTo>
                    <a:pt x="64" y="109"/>
                    <a:pt x="58" y="111"/>
                    <a:pt x="52" y="114"/>
                  </a:cubicBezTo>
                  <a:cubicBezTo>
                    <a:pt x="29" y="126"/>
                    <a:pt x="16" y="102"/>
                    <a:pt x="10" y="84"/>
                  </a:cubicBezTo>
                  <a:cubicBezTo>
                    <a:pt x="17" y="92"/>
                    <a:pt x="30" y="89"/>
                    <a:pt x="35" y="90"/>
                  </a:cubicBezTo>
                  <a:cubicBezTo>
                    <a:pt x="43" y="86"/>
                    <a:pt x="56" y="84"/>
                    <a:pt x="68" y="82"/>
                  </a:cubicBezTo>
                  <a:cubicBezTo>
                    <a:pt x="76" y="81"/>
                    <a:pt x="88" y="83"/>
                    <a:pt x="91" y="75"/>
                  </a:cubicBezTo>
                  <a:cubicBezTo>
                    <a:pt x="91" y="66"/>
                    <a:pt x="84" y="71"/>
                    <a:pt x="77" y="69"/>
                  </a:cubicBezTo>
                  <a:cubicBezTo>
                    <a:pt x="63" y="56"/>
                    <a:pt x="74" y="32"/>
                    <a:pt x="82" y="21"/>
                  </a:cubicBezTo>
                  <a:cubicBezTo>
                    <a:pt x="76" y="18"/>
                    <a:pt x="70" y="27"/>
                    <a:pt x="62" y="28"/>
                  </a:cubicBezTo>
                  <a:cubicBezTo>
                    <a:pt x="48" y="31"/>
                    <a:pt x="33" y="28"/>
                    <a:pt x="31" y="15"/>
                  </a:cubicBezTo>
                  <a:cubicBezTo>
                    <a:pt x="40" y="21"/>
                    <a:pt x="47" y="18"/>
                    <a:pt x="60" y="14"/>
                  </a:cubicBezTo>
                  <a:cubicBezTo>
                    <a:pt x="71" y="10"/>
                    <a:pt x="80" y="7"/>
                    <a:pt x="85" y="0"/>
                  </a:cubicBezTo>
                  <a:cubicBezTo>
                    <a:pt x="101" y="0"/>
                    <a:pt x="115" y="3"/>
                    <a:pt x="126" y="8"/>
                  </a:cubicBezTo>
                  <a:cubicBezTo>
                    <a:pt x="140" y="24"/>
                    <a:pt x="108" y="31"/>
                    <a:pt x="111" y="50"/>
                  </a:cubicBezTo>
                  <a:cubicBezTo>
                    <a:pt x="112" y="58"/>
                    <a:pt x="119" y="58"/>
                    <a:pt x="122" y="68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32" name="íŝ1íḋé"/>
            <p:cNvSpPr/>
            <p:nvPr/>
          </p:nvSpPr>
          <p:spPr bwMode="auto">
            <a:xfrm>
              <a:off x="7308850" y="3170238"/>
              <a:ext cx="130175" cy="403225"/>
            </a:xfrm>
            <a:custGeom>
              <a:avLst/>
              <a:gdLst>
                <a:gd name="T0" fmla="*/ 12 w 49"/>
                <a:gd name="T1" fmla="*/ 0 h 151"/>
                <a:gd name="T2" fmla="*/ 14 w 49"/>
                <a:gd name="T3" fmla="*/ 1 h 151"/>
                <a:gd name="T4" fmla="*/ 12 w 49"/>
                <a:gd name="T5" fmla="*/ 26 h 151"/>
                <a:gd name="T6" fmla="*/ 20 w 49"/>
                <a:gd name="T7" fmla="*/ 52 h 151"/>
                <a:gd name="T8" fmla="*/ 31 w 49"/>
                <a:gd name="T9" fmla="*/ 70 h 151"/>
                <a:gd name="T10" fmla="*/ 30 w 49"/>
                <a:gd name="T11" fmla="*/ 90 h 151"/>
                <a:gd name="T12" fmla="*/ 37 w 49"/>
                <a:gd name="T13" fmla="*/ 93 h 151"/>
                <a:gd name="T14" fmla="*/ 34 w 49"/>
                <a:gd name="T15" fmla="*/ 151 h 151"/>
                <a:gd name="T16" fmla="*/ 14 w 49"/>
                <a:gd name="T17" fmla="*/ 127 h 151"/>
                <a:gd name="T18" fmla="*/ 8 w 49"/>
                <a:gd name="T19" fmla="*/ 120 h 151"/>
                <a:gd name="T20" fmla="*/ 1 w 49"/>
                <a:gd name="T21" fmla="*/ 62 h 151"/>
                <a:gd name="T22" fmla="*/ 5 w 49"/>
                <a:gd name="T23" fmla="*/ 46 h 151"/>
                <a:gd name="T24" fmla="*/ 5 w 49"/>
                <a:gd name="T25" fmla="*/ 22 h 151"/>
                <a:gd name="T26" fmla="*/ 12 w 49"/>
                <a:gd name="T27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" h="151">
                  <a:moveTo>
                    <a:pt x="12" y="0"/>
                  </a:moveTo>
                  <a:cubicBezTo>
                    <a:pt x="13" y="0"/>
                    <a:pt x="14" y="0"/>
                    <a:pt x="14" y="1"/>
                  </a:cubicBezTo>
                  <a:cubicBezTo>
                    <a:pt x="16" y="13"/>
                    <a:pt x="11" y="17"/>
                    <a:pt x="12" y="26"/>
                  </a:cubicBezTo>
                  <a:cubicBezTo>
                    <a:pt x="13" y="35"/>
                    <a:pt x="16" y="45"/>
                    <a:pt x="20" y="52"/>
                  </a:cubicBezTo>
                  <a:cubicBezTo>
                    <a:pt x="23" y="58"/>
                    <a:pt x="29" y="62"/>
                    <a:pt x="31" y="70"/>
                  </a:cubicBezTo>
                  <a:cubicBezTo>
                    <a:pt x="32" y="77"/>
                    <a:pt x="29" y="83"/>
                    <a:pt x="30" y="90"/>
                  </a:cubicBezTo>
                  <a:cubicBezTo>
                    <a:pt x="32" y="93"/>
                    <a:pt x="35" y="89"/>
                    <a:pt x="37" y="93"/>
                  </a:cubicBezTo>
                  <a:cubicBezTo>
                    <a:pt x="30" y="114"/>
                    <a:pt x="49" y="139"/>
                    <a:pt x="34" y="151"/>
                  </a:cubicBezTo>
                  <a:cubicBezTo>
                    <a:pt x="23" y="148"/>
                    <a:pt x="20" y="139"/>
                    <a:pt x="14" y="127"/>
                  </a:cubicBezTo>
                  <a:cubicBezTo>
                    <a:pt x="13" y="124"/>
                    <a:pt x="9" y="123"/>
                    <a:pt x="8" y="120"/>
                  </a:cubicBezTo>
                  <a:cubicBezTo>
                    <a:pt x="2" y="105"/>
                    <a:pt x="0" y="80"/>
                    <a:pt x="1" y="62"/>
                  </a:cubicBezTo>
                  <a:cubicBezTo>
                    <a:pt x="1" y="56"/>
                    <a:pt x="4" y="52"/>
                    <a:pt x="5" y="46"/>
                  </a:cubicBezTo>
                  <a:cubicBezTo>
                    <a:pt x="5" y="38"/>
                    <a:pt x="3" y="29"/>
                    <a:pt x="5" y="22"/>
                  </a:cubicBezTo>
                  <a:cubicBezTo>
                    <a:pt x="6" y="15"/>
                    <a:pt x="11" y="6"/>
                    <a:pt x="12" y="0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33" name="íśļíḋè"/>
            <p:cNvSpPr/>
            <p:nvPr/>
          </p:nvSpPr>
          <p:spPr bwMode="auto">
            <a:xfrm>
              <a:off x="8791575" y="3359150"/>
              <a:ext cx="184150" cy="195263"/>
            </a:xfrm>
            <a:custGeom>
              <a:avLst/>
              <a:gdLst>
                <a:gd name="T0" fmla="*/ 23 w 69"/>
                <a:gd name="T1" fmla="*/ 67 h 73"/>
                <a:gd name="T2" fmla="*/ 1 w 69"/>
                <a:gd name="T3" fmla="*/ 43 h 73"/>
                <a:gd name="T4" fmla="*/ 8 w 69"/>
                <a:gd name="T5" fmla="*/ 0 h 73"/>
                <a:gd name="T6" fmla="*/ 27 w 69"/>
                <a:gd name="T7" fmla="*/ 5 h 73"/>
                <a:gd name="T8" fmla="*/ 36 w 69"/>
                <a:gd name="T9" fmla="*/ 12 h 73"/>
                <a:gd name="T10" fmla="*/ 45 w 69"/>
                <a:gd name="T11" fmla="*/ 17 h 73"/>
                <a:gd name="T12" fmla="*/ 56 w 69"/>
                <a:gd name="T13" fmla="*/ 29 h 73"/>
                <a:gd name="T14" fmla="*/ 66 w 69"/>
                <a:gd name="T15" fmla="*/ 50 h 73"/>
                <a:gd name="T16" fmla="*/ 45 w 69"/>
                <a:gd name="T17" fmla="*/ 72 h 73"/>
                <a:gd name="T18" fmla="*/ 23 w 69"/>
                <a:gd name="T19" fmla="*/ 67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73">
                  <a:moveTo>
                    <a:pt x="23" y="67"/>
                  </a:moveTo>
                  <a:cubicBezTo>
                    <a:pt x="14" y="60"/>
                    <a:pt x="4" y="55"/>
                    <a:pt x="1" y="43"/>
                  </a:cubicBezTo>
                  <a:cubicBezTo>
                    <a:pt x="7" y="30"/>
                    <a:pt x="0" y="11"/>
                    <a:pt x="8" y="0"/>
                  </a:cubicBezTo>
                  <a:cubicBezTo>
                    <a:pt x="12" y="3"/>
                    <a:pt x="21" y="2"/>
                    <a:pt x="27" y="5"/>
                  </a:cubicBezTo>
                  <a:cubicBezTo>
                    <a:pt x="30" y="6"/>
                    <a:pt x="32" y="9"/>
                    <a:pt x="36" y="12"/>
                  </a:cubicBezTo>
                  <a:cubicBezTo>
                    <a:pt x="39" y="14"/>
                    <a:pt x="43" y="15"/>
                    <a:pt x="45" y="17"/>
                  </a:cubicBezTo>
                  <a:cubicBezTo>
                    <a:pt x="49" y="20"/>
                    <a:pt x="52" y="25"/>
                    <a:pt x="56" y="29"/>
                  </a:cubicBezTo>
                  <a:cubicBezTo>
                    <a:pt x="64" y="36"/>
                    <a:pt x="69" y="37"/>
                    <a:pt x="66" y="50"/>
                  </a:cubicBezTo>
                  <a:cubicBezTo>
                    <a:pt x="64" y="57"/>
                    <a:pt x="53" y="71"/>
                    <a:pt x="45" y="72"/>
                  </a:cubicBezTo>
                  <a:cubicBezTo>
                    <a:pt x="36" y="73"/>
                    <a:pt x="31" y="64"/>
                    <a:pt x="23" y="67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34" name="ïśļíďê"/>
            <p:cNvSpPr/>
            <p:nvPr/>
          </p:nvSpPr>
          <p:spPr bwMode="auto">
            <a:xfrm>
              <a:off x="9166225" y="2730500"/>
              <a:ext cx="825500" cy="554038"/>
            </a:xfrm>
            <a:custGeom>
              <a:avLst/>
              <a:gdLst>
                <a:gd name="T0" fmla="*/ 149 w 310"/>
                <a:gd name="T1" fmla="*/ 128 h 208"/>
                <a:gd name="T2" fmla="*/ 136 w 310"/>
                <a:gd name="T3" fmla="*/ 134 h 208"/>
                <a:gd name="T4" fmla="*/ 132 w 310"/>
                <a:gd name="T5" fmla="*/ 119 h 208"/>
                <a:gd name="T6" fmla="*/ 213 w 310"/>
                <a:gd name="T7" fmla="*/ 42 h 208"/>
                <a:gd name="T8" fmla="*/ 226 w 310"/>
                <a:gd name="T9" fmla="*/ 26 h 208"/>
                <a:gd name="T10" fmla="*/ 210 w 310"/>
                <a:gd name="T11" fmla="*/ 12 h 208"/>
                <a:gd name="T12" fmla="*/ 256 w 310"/>
                <a:gd name="T13" fmla="*/ 38 h 208"/>
                <a:gd name="T14" fmla="*/ 243 w 310"/>
                <a:gd name="T15" fmla="*/ 94 h 208"/>
                <a:gd name="T16" fmla="*/ 310 w 310"/>
                <a:gd name="T17" fmla="*/ 119 h 208"/>
                <a:gd name="T18" fmla="*/ 288 w 310"/>
                <a:gd name="T19" fmla="*/ 127 h 208"/>
                <a:gd name="T20" fmla="*/ 259 w 310"/>
                <a:gd name="T21" fmla="*/ 121 h 208"/>
                <a:gd name="T22" fmla="*/ 265 w 310"/>
                <a:gd name="T23" fmla="*/ 115 h 208"/>
                <a:gd name="T24" fmla="*/ 228 w 310"/>
                <a:gd name="T25" fmla="*/ 141 h 208"/>
                <a:gd name="T26" fmla="*/ 185 w 310"/>
                <a:gd name="T27" fmla="*/ 128 h 208"/>
                <a:gd name="T28" fmla="*/ 139 w 310"/>
                <a:gd name="T29" fmla="*/ 154 h 208"/>
                <a:gd name="T30" fmla="*/ 109 w 310"/>
                <a:gd name="T31" fmla="*/ 154 h 208"/>
                <a:gd name="T32" fmla="*/ 100 w 310"/>
                <a:gd name="T33" fmla="*/ 155 h 208"/>
                <a:gd name="T34" fmla="*/ 25 w 310"/>
                <a:gd name="T35" fmla="*/ 208 h 208"/>
                <a:gd name="T36" fmla="*/ 21 w 310"/>
                <a:gd name="T37" fmla="*/ 159 h 208"/>
                <a:gd name="T38" fmla="*/ 46 w 310"/>
                <a:gd name="T39" fmla="*/ 162 h 208"/>
                <a:gd name="T40" fmla="*/ 65 w 310"/>
                <a:gd name="T41" fmla="*/ 67 h 208"/>
                <a:gd name="T42" fmla="*/ 106 w 310"/>
                <a:gd name="T43" fmla="*/ 144 h 208"/>
                <a:gd name="T44" fmla="*/ 92 w 310"/>
                <a:gd name="T45" fmla="*/ 36 h 208"/>
                <a:gd name="T46" fmla="*/ 152 w 310"/>
                <a:gd name="T47" fmla="*/ 98 h 208"/>
                <a:gd name="T48" fmla="*/ 154 w 310"/>
                <a:gd name="T49" fmla="*/ 88 h 208"/>
                <a:gd name="T50" fmla="*/ 150 w 310"/>
                <a:gd name="T51" fmla="*/ 60 h 208"/>
                <a:gd name="T52" fmla="*/ 136 w 310"/>
                <a:gd name="T53" fmla="*/ 7 h 208"/>
                <a:gd name="T54" fmla="*/ 195 w 310"/>
                <a:gd name="T55" fmla="*/ 41 h 208"/>
                <a:gd name="T56" fmla="*/ 176 w 310"/>
                <a:gd name="T57" fmla="*/ 93 h 208"/>
                <a:gd name="T58" fmla="*/ 157 w 310"/>
                <a:gd name="T59" fmla="*/ 127 h 208"/>
                <a:gd name="T60" fmla="*/ 210 w 310"/>
                <a:gd name="T61" fmla="*/ 113 h 208"/>
                <a:gd name="T62" fmla="*/ 212 w 310"/>
                <a:gd name="T63" fmla="*/ 98 h 208"/>
                <a:gd name="T64" fmla="*/ 224 w 310"/>
                <a:gd name="T65" fmla="*/ 80 h 208"/>
                <a:gd name="T66" fmla="*/ 212 w 310"/>
                <a:gd name="T67" fmla="*/ 36 h 208"/>
                <a:gd name="T68" fmla="*/ 213 w 310"/>
                <a:gd name="T69" fmla="*/ 42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0" h="208">
                  <a:moveTo>
                    <a:pt x="136" y="134"/>
                  </a:moveTo>
                  <a:cubicBezTo>
                    <a:pt x="143" y="134"/>
                    <a:pt x="148" y="133"/>
                    <a:pt x="149" y="128"/>
                  </a:cubicBezTo>
                  <a:cubicBezTo>
                    <a:pt x="143" y="131"/>
                    <a:pt x="140" y="125"/>
                    <a:pt x="136" y="123"/>
                  </a:cubicBezTo>
                  <a:cubicBezTo>
                    <a:pt x="136" y="134"/>
                    <a:pt x="136" y="134"/>
                    <a:pt x="136" y="134"/>
                  </a:cubicBezTo>
                  <a:close/>
                  <a:moveTo>
                    <a:pt x="133" y="124"/>
                  </a:moveTo>
                  <a:cubicBezTo>
                    <a:pt x="135" y="123"/>
                    <a:pt x="135" y="120"/>
                    <a:pt x="132" y="119"/>
                  </a:cubicBezTo>
                  <a:cubicBezTo>
                    <a:pt x="131" y="121"/>
                    <a:pt x="131" y="124"/>
                    <a:pt x="133" y="124"/>
                  </a:cubicBezTo>
                  <a:close/>
                  <a:moveTo>
                    <a:pt x="213" y="42"/>
                  </a:moveTo>
                  <a:cubicBezTo>
                    <a:pt x="216" y="45"/>
                    <a:pt x="221" y="46"/>
                    <a:pt x="225" y="48"/>
                  </a:cubicBezTo>
                  <a:cubicBezTo>
                    <a:pt x="230" y="41"/>
                    <a:pt x="227" y="31"/>
                    <a:pt x="226" y="26"/>
                  </a:cubicBezTo>
                  <a:cubicBezTo>
                    <a:pt x="219" y="21"/>
                    <a:pt x="208" y="19"/>
                    <a:pt x="201" y="13"/>
                  </a:cubicBezTo>
                  <a:cubicBezTo>
                    <a:pt x="202" y="11"/>
                    <a:pt x="207" y="13"/>
                    <a:pt x="210" y="12"/>
                  </a:cubicBezTo>
                  <a:cubicBezTo>
                    <a:pt x="215" y="6"/>
                    <a:pt x="225" y="6"/>
                    <a:pt x="230" y="0"/>
                  </a:cubicBezTo>
                  <a:cubicBezTo>
                    <a:pt x="249" y="3"/>
                    <a:pt x="284" y="22"/>
                    <a:pt x="256" y="38"/>
                  </a:cubicBezTo>
                  <a:cubicBezTo>
                    <a:pt x="253" y="45"/>
                    <a:pt x="251" y="53"/>
                    <a:pt x="247" y="57"/>
                  </a:cubicBezTo>
                  <a:cubicBezTo>
                    <a:pt x="247" y="70"/>
                    <a:pt x="240" y="83"/>
                    <a:pt x="243" y="94"/>
                  </a:cubicBezTo>
                  <a:cubicBezTo>
                    <a:pt x="243" y="99"/>
                    <a:pt x="239" y="100"/>
                    <a:pt x="241" y="106"/>
                  </a:cubicBezTo>
                  <a:cubicBezTo>
                    <a:pt x="264" y="105"/>
                    <a:pt x="298" y="99"/>
                    <a:pt x="310" y="119"/>
                  </a:cubicBezTo>
                  <a:cubicBezTo>
                    <a:pt x="306" y="127"/>
                    <a:pt x="293" y="131"/>
                    <a:pt x="285" y="130"/>
                  </a:cubicBezTo>
                  <a:cubicBezTo>
                    <a:pt x="283" y="126"/>
                    <a:pt x="289" y="129"/>
                    <a:pt x="288" y="127"/>
                  </a:cubicBezTo>
                  <a:cubicBezTo>
                    <a:pt x="287" y="124"/>
                    <a:pt x="281" y="128"/>
                    <a:pt x="278" y="128"/>
                  </a:cubicBezTo>
                  <a:cubicBezTo>
                    <a:pt x="273" y="124"/>
                    <a:pt x="262" y="126"/>
                    <a:pt x="259" y="121"/>
                  </a:cubicBezTo>
                  <a:cubicBezTo>
                    <a:pt x="269" y="121"/>
                    <a:pt x="272" y="116"/>
                    <a:pt x="280" y="115"/>
                  </a:cubicBezTo>
                  <a:cubicBezTo>
                    <a:pt x="277" y="109"/>
                    <a:pt x="270" y="114"/>
                    <a:pt x="265" y="115"/>
                  </a:cubicBezTo>
                  <a:cubicBezTo>
                    <a:pt x="254" y="115"/>
                    <a:pt x="246" y="113"/>
                    <a:pt x="239" y="117"/>
                  </a:cubicBezTo>
                  <a:cubicBezTo>
                    <a:pt x="230" y="123"/>
                    <a:pt x="233" y="133"/>
                    <a:pt x="228" y="141"/>
                  </a:cubicBezTo>
                  <a:cubicBezTo>
                    <a:pt x="217" y="139"/>
                    <a:pt x="209" y="134"/>
                    <a:pt x="211" y="121"/>
                  </a:cubicBezTo>
                  <a:cubicBezTo>
                    <a:pt x="202" y="119"/>
                    <a:pt x="194" y="124"/>
                    <a:pt x="185" y="128"/>
                  </a:cubicBezTo>
                  <a:cubicBezTo>
                    <a:pt x="169" y="133"/>
                    <a:pt x="152" y="135"/>
                    <a:pt x="139" y="143"/>
                  </a:cubicBezTo>
                  <a:cubicBezTo>
                    <a:pt x="138" y="148"/>
                    <a:pt x="139" y="148"/>
                    <a:pt x="139" y="154"/>
                  </a:cubicBezTo>
                  <a:cubicBezTo>
                    <a:pt x="135" y="152"/>
                    <a:pt x="133" y="148"/>
                    <a:pt x="129" y="146"/>
                  </a:cubicBezTo>
                  <a:cubicBezTo>
                    <a:pt x="121" y="147"/>
                    <a:pt x="116" y="151"/>
                    <a:pt x="109" y="154"/>
                  </a:cubicBezTo>
                  <a:cubicBezTo>
                    <a:pt x="109" y="162"/>
                    <a:pt x="112" y="167"/>
                    <a:pt x="113" y="173"/>
                  </a:cubicBezTo>
                  <a:cubicBezTo>
                    <a:pt x="107" y="168"/>
                    <a:pt x="104" y="162"/>
                    <a:pt x="100" y="155"/>
                  </a:cubicBezTo>
                  <a:cubicBezTo>
                    <a:pt x="79" y="161"/>
                    <a:pt x="59" y="167"/>
                    <a:pt x="46" y="181"/>
                  </a:cubicBezTo>
                  <a:cubicBezTo>
                    <a:pt x="44" y="195"/>
                    <a:pt x="32" y="199"/>
                    <a:pt x="25" y="208"/>
                  </a:cubicBezTo>
                  <a:cubicBezTo>
                    <a:pt x="12" y="206"/>
                    <a:pt x="0" y="197"/>
                    <a:pt x="2" y="191"/>
                  </a:cubicBezTo>
                  <a:cubicBezTo>
                    <a:pt x="5" y="183"/>
                    <a:pt x="20" y="170"/>
                    <a:pt x="21" y="159"/>
                  </a:cubicBezTo>
                  <a:cubicBezTo>
                    <a:pt x="23" y="159"/>
                    <a:pt x="24" y="158"/>
                    <a:pt x="25" y="156"/>
                  </a:cubicBezTo>
                  <a:cubicBezTo>
                    <a:pt x="34" y="158"/>
                    <a:pt x="39" y="158"/>
                    <a:pt x="46" y="162"/>
                  </a:cubicBezTo>
                  <a:cubicBezTo>
                    <a:pt x="65" y="159"/>
                    <a:pt x="82" y="153"/>
                    <a:pt x="100" y="148"/>
                  </a:cubicBezTo>
                  <a:cubicBezTo>
                    <a:pt x="101" y="113"/>
                    <a:pt x="84" y="87"/>
                    <a:pt x="65" y="67"/>
                  </a:cubicBezTo>
                  <a:cubicBezTo>
                    <a:pt x="59" y="64"/>
                    <a:pt x="54" y="59"/>
                    <a:pt x="50" y="54"/>
                  </a:cubicBezTo>
                  <a:cubicBezTo>
                    <a:pt x="87" y="59"/>
                    <a:pt x="100" y="111"/>
                    <a:pt x="106" y="144"/>
                  </a:cubicBezTo>
                  <a:cubicBezTo>
                    <a:pt x="111" y="146"/>
                    <a:pt x="119" y="140"/>
                    <a:pt x="125" y="138"/>
                  </a:cubicBezTo>
                  <a:cubicBezTo>
                    <a:pt x="127" y="107"/>
                    <a:pt x="116" y="48"/>
                    <a:pt x="92" y="36"/>
                  </a:cubicBezTo>
                  <a:cubicBezTo>
                    <a:pt x="126" y="40"/>
                    <a:pt x="128" y="88"/>
                    <a:pt x="137" y="122"/>
                  </a:cubicBezTo>
                  <a:cubicBezTo>
                    <a:pt x="146" y="115"/>
                    <a:pt x="146" y="106"/>
                    <a:pt x="152" y="98"/>
                  </a:cubicBezTo>
                  <a:cubicBezTo>
                    <a:pt x="148" y="92"/>
                    <a:pt x="143" y="86"/>
                    <a:pt x="137" y="82"/>
                  </a:cubicBezTo>
                  <a:cubicBezTo>
                    <a:pt x="142" y="80"/>
                    <a:pt x="149" y="91"/>
                    <a:pt x="154" y="88"/>
                  </a:cubicBezTo>
                  <a:cubicBezTo>
                    <a:pt x="157" y="78"/>
                    <a:pt x="162" y="69"/>
                    <a:pt x="161" y="57"/>
                  </a:cubicBezTo>
                  <a:cubicBezTo>
                    <a:pt x="157" y="54"/>
                    <a:pt x="156" y="61"/>
                    <a:pt x="150" y="60"/>
                  </a:cubicBezTo>
                  <a:cubicBezTo>
                    <a:pt x="141" y="54"/>
                    <a:pt x="134" y="47"/>
                    <a:pt x="132" y="35"/>
                  </a:cubicBezTo>
                  <a:cubicBezTo>
                    <a:pt x="138" y="29"/>
                    <a:pt x="143" y="15"/>
                    <a:pt x="136" y="7"/>
                  </a:cubicBezTo>
                  <a:cubicBezTo>
                    <a:pt x="148" y="10"/>
                    <a:pt x="157" y="16"/>
                    <a:pt x="162" y="26"/>
                  </a:cubicBezTo>
                  <a:cubicBezTo>
                    <a:pt x="172" y="30"/>
                    <a:pt x="189" y="34"/>
                    <a:pt x="195" y="41"/>
                  </a:cubicBezTo>
                  <a:cubicBezTo>
                    <a:pt x="207" y="53"/>
                    <a:pt x="195" y="59"/>
                    <a:pt x="188" y="72"/>
                  </a:cubicBezTo>
                  <a:cubicBezTo>
                    <a:pt x="184" y="80"/>
                    <a:pt x="183" y="89"/>
                    <a:pt x="176" y="93"/>
                  </a:cubicBezTo>
                  <a:cubicBezTo>
                    <a:pt x="175" y="97"/>
                    <a:pt x="177" y="99"/>
                    <a:pt x="176" y="105"/>
                  </a:cubicBezTo>
                  <a:cubicBezTo>
                    <a:pt x="167" y="109"/>
                    <a:pt x="166" y="122"/>
                    <a:pt x="157" y="127"/>
                  </a:cubicBezTo>
                  <a:cubicBezTo>
                    <a:pt x="164" y="131"/>
                    <a:pt x="169" y="124"/>
                    <a:pt x="175" y="122"/>
                  </a:cubicBezTo>
                  <a:cubicBezTo>
                    <a:pt x="186" y="118"/>
                    <a:pt x="200" y="117"/>
                    <a:pt x="210" y="113"/>
                  </a:cubicBezTo>
                  <a:cubicBezTo>
                    <a:pt x="213" y="112"/>
                    <a:pt x="219" y="110"/>
                    <a:pt x="219" y="105"/>
                  </a:cubicBezTo>
                  <a:cubicBezTo>
                    <a:pt x="220" y="100"/>
                    <a:pt x="214" y="100"/>
                    <a:pt x="212" y="98"/>
                  </a:cubicBezTo>
                  <a:cubicBezTo>
                    <a:pt x="208" y="91"/>
                    <a:pt x="204" y="83"/>
                    <a:pt x="200" y="75"/>
                  </a:cubicBezTo>
                  <a:cubicBezTo>
                    <a:pt x="207" y="83"/>
                    <a:pt x="213" y="78"/>
                    <a:pt x="224" y="80"/>
                  </a:cubicBezTo>
                  <a:cubicBezTo>
                    <a:pt x="227" y="78"/>
                    <a:pt x="225" y="70"/>
                    <a:pt x="228" y="67"/>
                  </a:cubicBezTo>
                  <a:cubicBezTo>
                    <a:pt x="219" y="60"/>
                    <a:pt x="207" y="48"/>
                    <a:pt x="212" y="36"/>
                  </a:cubicBezTo>
                  <a:cubicBezTo>
                    <a:pt x="214" y="38"/>
                    <a:pt x="216" y="40"/>
                    <a:pt x="219" y="42"/>
                  </a:cubicBezTo>
                  <a:cubicBezTo>
                    <a:pt x="219" y="44"/>
                    <a:pt x="216" y="40"/>
                    <a:pt x="213" y="42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35" name="iṧlíḍê"/>
            <p:cNvSpPr/>
            <p:nvPr/>
          </p:nvSpPr>
          <p:spPr bwMode="auto">
            <a:xfrm>
              <a:off x="5419725" y="2943225"/>
              <a:ext cx="452438" cy="520700"/>
            </a:xfrm>
            <a:custGeom>
              <a:avLst/>
              <a:gdLst>
                <a:gd name="T0" fmla="*/ 101 w 170"/>
                <a:gd name="T1" fmla="*/ 75 h 195"/>
                <a:gd name="T2" fmla="*/ 80 w 170"/>
                <a:gd name="T3" fmla="*/ 56 h 195"/>
                <a:gd name="T4" fmla="*/ 80 w 170"/>
                <a:gd name="T5" fmla="*/ 60 h 195"/>
                <a:gd name="T6" fmla="*/ 75 w 170"/>
                <a:gd name="T7" fmla="*/ 56 h 195"/>
                <a:gd name="T8" fmla="*/ 81 w 170"/>
                <a:gd name="T9" fmla="*/ 49 h 195"/>
                <a:gd name="T10" fmla="*/ 107 w 170"/>
                <a:gd name="T11" fmla="*/ 84 h 195"/>
                <a:gd name="T12" fmla="*/ 101 w 170"/>
                <a:gd name="T13" fmla="*/ 75 h 195"/>
                <a:gd name="T14" fmla="*/ 78 w 170"/>
                <a:gd name="T15" fmla="*/ 111 h 195"/>
                <a:gd name="T16" fmla="*/ 93 w 170"/>
                <a:gd name="T17" fmla="*/ 85 h 195"/>
                <a:gd name="T18" fmla="*/ 86 w 170"/>
                <a:gd name="T19" fmla="*/ 84 h 195"/>
                <a:gd name="T20" fmla="*/ 81 w 170"/>
                <a:gd name="T21" fmla="*/ 95 h 195"/>
                <a:gd name="T22" fmla="*/ 36 w 170"/>
                <a:gd name="T23" fmla="*/ 140 h 195"/>
                <a:gd name="T24" fmla="*/ 35 w 170"/>
                <a:gd name="T25" fmla="*/ 141 h 195"/>
                <a:gd name="T26" fmla="*/ 78 w 170"/>
                <a:gd name="T27" fmla="*/ 111 h 195"/>
                <a:gd name="T28" fmla="*/ 48 w 170"/>
                <a:gd name="T29" fmla="*/ 58 h 195"/>
                <a:gd name="T30" fmla="*/ 53 w 170"/>
                <a:gd name="T31" fmla="*/ 55 h 195"/>
                <a:gd name="T32" fmla="*/ 48 w 170"/>
                <a:gd name="T33" fmla="*/ 58 h 195"/>
                <a:gd name="T34" fmla="*/ 159 w 170"/>
                <a:gd name="T35" fmla="*/ 137 h 195"/>
                <a:gd name="T36" fmla="*/ 147 w 170"/>
                <a:gd name="T37" fmla="*/ 106 h 195"/>
                <a:gd name="T38" fmla="*/ 163 w 170"/>
                <a:gd name="T39" fmla="*/ 85 h 195"/>
                <a:gd name="T40" fmla="*/ 138 w 170"/>
                <a:gd name="T41" fmla="*/ 61 h 195"/>
                <a:gd name="T42" fmla="*/ 130 w 170"/>
                <a:gd name="T43" fmla="*/ 82 h 195"/>
                <a:gd name="T44" fmla="*/ 93 w 170"/>
                <a:gd name="T45" fmla="*/ 37 h 195"/>
                <a:gd name="T46" fmla="*/ 101 w 170"/>
                <a:gd name="T47" fmla="*/ 26 h 195"/>
                <a:gd name="T48" fmla="*/ 72 w 170"/>
                <a:gd name="T49" fmla="*/ 8 h 195"/>
                <a:gd name="T50" fmla="*/ 64 w 170"/>
                <a:gd name="T51" fmla="*/ 5 h 195"/>
                <a:gd name="T52" fmla="*/ 60 w 170"/>
                <a:gd name="T53" fmla="*/ 6 h 195"/>
                <a:gd name="T54" fmla="*/ 45 w 170"/>
                <a:gd name="T55" fmla="*/ 0 h 195"/>
                <a:gd name="T56" fmla="*/ 35 w 170"/>
                <a:gd name="T57" fmla="*/ 20 h 195"/>
                <a:gd name="T58" fmla="*/ 49 w 170"/>
                <a:gd name="T59" fmla="*/ 18 h 195"/>
                <a:gd name="T60" fmla="*/ 22 w 170"/>
                <a:gd name="T61" fmla="*/ 23 h 195"/>
                <a:gd name="T62" fmla="*/ 45 w 170"/>
                <a:gd name="T63" fmla="*/ 41 h 195"/>
                <a:gd name="T64" fmla="*/ 19 w 170"/>
                <a:gd name="T65" fmla="*/ 63 h 195"/>
                <a:gd name="T66" fmla="*/ 12 w 170"/>
                <a:gd name="T67" fmla="*/ 62 h 195"/>
                <a:gd name="T68" fmla="*/ 23 w 170"/>
                <a:gd name="T69" fmla="*/ 97 h 195"/>
                <a:gd name="T70" fmla="*/ 48 w 170"/>
                <a:gd name="T71" fmla="*/ 79 h 195"/>
                <a:gd name="T72" fmla="*/ 59 w 170"/>
                <a:gd name="T73" fmla="*/ 73 h 195"/>
                <a:gd name="T74" fmla="*/ 61 w 170"/>
                <a:gd name="T75" fmla="*/ 68 h 195"/>
                <a:gd name="T76" fmla="*/ 72 w 170"/>
                <a:gd name="T77" fmla="*/ 61 h 195"/>
                <a:gd name="T78" fmla="*/ 67 w 170"/>
                <a:gd name="T79" fmla="*/ 82 h 195"/>
                <a:gd name="T80" fmla="*/ 48 w 170"/>
                <a:gd name="T81" fmla="*/ 100 h 195"/>
                <a:gd name="T82" fmla="*/ 32 w 170"/>
                <a:gd name="T83" fmla="*/ 112 h 195"/>
                <a:gd name="T84" fmla="*/ 28 w 170"/>
                <a:gd name="T85" fmla="*/ 120 h 195"/>
                <a:gd name="T86" fmla="*/ 5 w 170"/>
                <a:gd name="T87" fmla="*/ 144 h 195"/>
                <a:gd name="T88" fmla="*/ 8 w 170"/>
                <a:gd name="T89" fmla="*/ 167 h 195"/>
                <a:gd name="T90" fmla="*/ 31 w 170"/>
                <a:gd name="T91" fmla="*/ 157 h 195"/>
                <a:gd name="T92" fmla="*/ 47 w 170"/>
                <a:gd name="T93" fmla="*/ 150 h 195"/>
                <a:gd name="T94" fmla="*/ 91 w 170"/>
                <a:gd name="T95" fmla="*/ 117 h 195"/>
                <a:gd name="T96" fmla="*/ 100 w 170"/>
                <a:gd name="T97" fmla="*/ 106 h 195"/>
                <a:gd name="T98" fmla="*/ 113 w 170"/>
                <a:gd name="T99" fmla="*/ 86 h 195"/>
                <a:gd name="T100" fmla="*/ 121 w 170"/>
                <a:gd name="T101" fmla="*/ 98 h 195"/>
                <a:gd name="T102" fmla="*/ 84 w 170"/>
                <a:gd name="T103" fmla="*/ 147 h 195"/>
                <a:gd name="T104" fmla="*/ 35 w 170"/>
                <a:gd name="T105" fmla="*/ 168 h 195"/>
                <a:gd name="T106" fmla="*/ 25 w 170"/>
                <a:gd name="T107" fmla="*/ 165 h 195"/>
                <a:gd name="T108" fmla="*/ 74 w 170"/>
                <a:gd name="T109" fmla="*/ 193 h 195"/>
                <a:gd name="T110" fmla="*/ 98 w 170"/>
                <a:gd name="T111" fmla="*/ 183 h 195"/>
                <a:gd name="T112" fmla="*/ 124 w 170"/>
                <a:gd name="T113" fmla="*/ 177 h 195"/>
                <a:gd name="T114" fmla="*/ 119 w 170"/>
                <a:gd name="T115" fmla="*/ 160 h 195"/>
                <a:gd name="T116" fmla="*/ 105 w 170"/>
                <a:gd name="T117" fmla="*/ 155 h 195"/>
                <a:gd name="T118" fmla="*/ 137 w 170"/>
                <a:gd name="T119" fmla="*/ 124 h 195"/>
                <a:gd name="T120" fmla="*/ 165 w 170"/>
                <a:gd name="T121" fmla="*/ 173 h 195"/>
                <a:gd name="T122" fmla="*/ 159 w 170"/>
                <a:gd name="T123" fmla="*/ 13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0" h="195">
                  <a:moveTo>
                    <a:pt x="101" y="75"/>
                  </a:moveTo>
                  <a:cubicBezTo>
                    <a:pt x="88" y="80"/>
                    <a:pt x="88" y="61"/>
                    <a:pt x="80" y="56"/>
                  </a:cubicBezTo>
                  <a:cubicBezTo>
                    <a:pt x="78" y="57"/>
                    <a:pt x="80" y="58"/>
                    <a:pt x="80" y="60"/>
                  </a:cubicBezTo>
                  <a:cubicBezTo>
                    <a:pt x="78" y="59"/>
                    <a:pt x="78" y="56"/>
                    <a:pt x="75" y="56"/>
                  </a:cubicBezTo>
                  <a:cubicBezTo>
                    <a:pt x="75" y="52"/>
                    <a:pt x="79" y="52"/>
                    <a:pt x="81" y="49"/>
                  </a:cubicBezTo>
                  <a:cubicBezTo>
                    <a:pt x="92" y="59"/>
                    <a:pt x="102" y="69"/>
                    <a:pt x="107" y="84"/>
                  </a:cubicBezTo>
                  <a:cubicBezTo>
                    <a:pt x="102" y="84"/>
                    <a:pt x="104" y="77"/>
                    <a:pt x="101" y="75"/>
                  </a:cubicBezTo>
                  <a:close/>
                  <a:moveTo>
                    <a:pt x="78" y="111"/>
                  </a:moveTo>
                  <a:cubicBezTo>
                    <a:pt x="82" y="102"/>
                    <a:pt x="91" y="96"/>
                    <a:pt x="93" y="85"/>
                  </a:cubicBezTo>
                  <a:cubicBezTo>
                    <a:pt x="89" y="86"/>
                    <a:pt x="90" y="83"/>
                    <a:pt x="86" y="84"/>
                  </a:cubicBezTo>
                  <a:cubicBezTo>
                    <a:pt x="85" y="88"/>
                    <a:pt x="81" y="90"/>
                    <a:pt x="81" y="95"/>
                  </a:cubicBezTo>
                  <a:cubicBezTo>
                    <a:pt x="66" y="109"/>
                    <a:pt x="47" y="125"/>
                    <a:pt x="36" y="140"/>
                  </a:cubicBezTo>
                  <a:cubicBezTo>
                    <a:pt x="35" y="140"/>
                    <a:pt x="34" y="140"/>
                    <a:pt x="35" y="141"/>
                  </a:cubicBezTo>
                  <a:cubicBezTo>
                    <a:pt x="50" y="132"/>
                    <a:pt x="61" y="119"/>
                    <a:pt x="78" y="111"/>
                  </a:cubicBezTo>
                  <a:close/>
                  <a:moveTo>
                    <a:pt x="48" y="58"/>
                  </a:moveTo>
                  <a:cubicBezTo>
                    <a:pt x="47" y="55"/>
                    <a:pt x="49" y="55"/>
                    <a:pt x="53" y="55"/>
                  </a:cubicBezTo>
                  <a:cubicBezTo>
                    <a:pt x="52" y="57"/>
                    <a:pt x="51" y="59"/>
                    <a:pt x="48" y="58"/>
                  </a:cubicBezTo>
                  <a:close/>
                  <a:moveTo>
                    <a:pt x="159" y="137"/>
                  </a:moveTo>
                  <a:cubicBezTo>
                    <a:pt x="154" y="125"/>
                    <a:pt x="148" y="117"/>
                    <a:pt x="147" y="106"/>
                  </a:cubicBezTo>
                  <a:cubicBezTo>
                    <a:pt x="149" y="96"/>
                    <a:pt x="162" y="94"/>
                    <a:pt x="163" y="85"/>
                  </a:cubicBezTo>
                  <a:cubicBezTo>
                    <a:pt x="165" y="71"/>
                    <a:pt x="151" y="65"/>
                    <a:pt x="138" y="61"/>
                  </a:cubicBezTo>
                  <a:cubicBezTo>
                    <a:pt x="137" y="70"/>
                    <a:pt x="135" y="77"/>
                    <a:pt x="130" y="82"/>
                  </a:cubicBezTo>
                  <a:cubicBezTo>
                    <a:pt x="115" y="70"/>
                    <a:pt x="102" y="56"/>
                    <a:pt x="93" y="37"/>
                  </a:cubicBezTo>
                  <a:cubicBezTo>
                    <a:pt x="94" y="31"/>
                    <a:pt x="101" y="32"/>
                    <a:pt x="101" y="26"/>
                  </a:cubicBezTo>
                  <a:cubicBezTo>
                    <a:pt x="103" y="6"/>
                    <a:pt x="87" y="10"/>
                    <a:pt x="72" y="8"/>
                  </a:cubicBezTo>
                  <a:cubicBezTo>
                    <a:pt x="70" y="8"/>
                    <a:pt x="66" y="5"/>
                    <a:pt x="64" y="5"/>
                  </a:cubicBezTo>
                  <a:cubicBezTo>
                    <a:pt x="62" y="5"/>
                    <a:pt x="62" y="7"/>
                    <a:pt x="60" y="6"/>
                  </a:cubicBezTo>
                  <a:cubicBezTo>
                    <a:pt x="54" y="4"/>
                    <a:pt x="49" y="0"/>
                    <a:pt x="45" y="0"/>
                  </a:cubicBezTo>
                  <a:cubicBezTo>
                    <a:pt x="42" y="7"/>
                    <a:pt x="24" y="10"/>
                    <a:pt x="35" y="20"/>
                  </a:cubicBezTo>
                  <a:cubicBezTo>
                    <a:pt x="39" y="18"/>
                    <a:pt x="45" y="17"/>
                    <a:pt x="49" y="18"/>
                  </a:cubicBezTo>
                  <a:cubicBezTo>
                    <a:pt x="43" y="27"/>
                    <a:pt x="29" y="22"/>
                    <a:pt x="22" y="23"/>
                  </a:cubicBezTo>
                  <a:cubicBezTo>
                    <a:pt x="31" y="27"/>
                    <a:pt x="39" y="33"/>
                    <a:pt x="45" y="41"/>
                  </a:cubicBezTo>
                  <a:cubicBezTo>
                    <a:pt x="38" y="50"/>
                    <a:pt x="27" y="55"/>
                    <a:pt x="19" y="63"/>
                  </a:cubicBezTo>
                  <a:cubicBezTo>
                    <a:pt x="16" y="64"/>
                    <a:pt x="16" y="61"/>
                    <a:pt x="12" y="62"/>
                  </a:cubicBezTo>
                  <a:cubicBezTo>
                    <a:pt x="6" y="74"/>
                    <a:pt x="11" y="96"/>
                    <a:pt x="23" y="97"/>
                  </a:cubicBezTo>
                  <a:cubicBezTo>
                    <a:pt x="28" y="97"/>
                    <a:pt x="44" y="82"/>
                    <a:pt x="48" y="79"/>
                  </a:cubicBezTo>
                  <a:cubicBezTo>
                    <a:pt x="51" y="76"/>
                    <a:pt x="55" y="74"/>
                    <a:pt x="59" y="73"/>
                  </a:cubicBezTo>
                  <a:cubicBezTo>
                    <a:pt x="60" y="72"/>
                    <a:pt x="59" y="68"/>
                    <a:pt x="61" y="68"/>
                  </a:cubicBezTo>
                  <a:cubicBezTo>
                    <a:pt x="67" y="68"/>
                    <a:pt x="67" y="58"/>
                    <a:pt x="72" y="61"/>
                  </a:cubicBezTo>
                  <a:cubicBezTo>
                    <a:pt x="73" y="73"/>
                    <a:pt x="69" y="74"/>
                    <a:pt x="67" y="82"/>
                  </a:cubicBezTo>
                  <a:cubicBezTo>
                    <a:pt x="57" y="86"/>
                    <a:pt x="55" y="93"/>
                    <a:pt x="48" y="100"/>
                  </a:cubicBezTo>
                  <a:cubicBezTo>
                    <a:pt x="43" y="104"/>
                    <a:pt x="36" y="108"/>
                    <a:pt x="32" y="112"/>
                  </a:cubicBezTo>
                  <a:cubicBezTo>
                    <a:pt x="31" y="114"/>
                    <a:pt x="30" y="118"/>
                    <a:pt x="28" y="120"/>
                  </a:cubicBezTo>
                  <a:cubicBezTo>
                    <a:pt x="21" y="129"/>
                    <a:pt x="9" y="138"/>
                    <a:pt x="5" y="144"/>
                  </a:cubicBezTo>
                  <a:cubicBezTo>
                    <a:pt x="0" y="151"/>
                    <a:pt x="0" y="165"/>
                    <a:pt x="8" y="167"/>
                  </a:cubicBezTo>
                  <a:cubicBezTo>
                    <a:pt x="17" y="165"/>
                    <a:pt x="21" y="159"/>
                    <a:pt x="31" y="157"/>
                  </a:cubicBezTo>
                  <a:cubicBezTo>
                    <a:pt x="34" y="150"/>
                    <a:pt x="42" y="152"/>
                    <a:pt x="47" y="150"/>
                  </a:cubicBezTo>
                  <a:cubicBezTo>
                    <a:pt x="63" y="143"/>
                    <a:pt x="80" y="126"/>
                    <a:pt x="91" y="117"/>
                  </a:cubicBezTo>
                  <a:cubicBezTo>
                    <a:pt x="95" y="113"/>
                    <a:pt x="97" y="111"/>
                    <a:pt x="100" y="106"/>
                  </a:cubicBezTo>
                  <a:cubicBezTo>
                    <a:pt x="105" y="99"/>
                    <a:pt x="110" y="92"/>
                    <a:pt x="113" y="86"/>
                  </a:cubicBezTo>
                  <a:cubicBezTo>
                    <a:pt x="117" y="89"/>
                    <a:pt x="119" y="93"/>
                    <a:pt x="121" y="98"/>
                  </a:cubicBezTo>
                  <a:cubicBezTo>
                    <a:pt x="111" y="117"/>
                    <a:pt x="96" y="130"/>
                    <a:pt x="84" y="147"/>
                  </a:cubicBezTo>
                  <a:cubicBezTo>
                    <a:pt x="69" y="155"/>
                    <a:pt x="56" y="173"/>
                    <a:pt x="35" y="168"/>
                  </a:cubicBezTo>
                  <a:cubicBezTo>
                    <a:pt x="31" y="168"/>
                    <a:pt x="28" y="163"/>
                    <a:pt x="25" y="165"/>
                  </a:cubicBezTo>
                  <a:cubicBezTo>
                    <a:pt x="39" y="181"/>
                    <a:pt x="52" y="195"/>
                    <a:pt x="74" y="193"/>
                  </a:cubicBezTo>
                  <a:cubicBezTo>
                    <a:pt x="85" y="193"/>
                    <a:pt x="92" y="186"/>
                    <a:pt x="98" y="183"/>
                  </a:cubicBezTo>
                  <a:cubicBezTo>
                    <a:pt x="106" y="178"/>
                    <a:pt x="118" y="185"/>
                    <a:pt x="124" y="177"/>
                  </a:cubicBezTo>
                  <a:cubicBezTo>
                    <a:pt x="121" y="173"/>
                    <a:pt x="123" y="163"/>
                    <a:pt x="119" y="160"/>
                  </a:cubicBezTo>
                  <a:cubicBezTo>
                    <a:pt x="116" y="157"/>
                    <a:pt x="105" y="161"/>
                    <a:pt x="105" y="155"/>
                  </a:cubicBezTo>
                  <a:cubicBezTo>
                    <a:pt x="118" y="147"/>
                    <a:pt x="125" y="133"/>
                    <a:pt x="137" y="124"/>
                  </a:cubicBezTo>
                  <a:cubicBezTo>
                    <a:pt x="148" y="138"/>
                    <a:pt x="146" y="166"/>
                    <a:pt x="165" y="173"/>
                  </a:cubicBezTo>
                  <a:cubicBezTo>
                    <a:pt x="170" y="161"/>
                    <a:pt x="165" y="152"/>
                    <a:pt x="159" y="137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36" name="ïšḷíḍè"/>
            <p:cNvSpPr/>
            <p:nvPr/>
          </p:nvSpPr>
          <p:spPr bwMode="auto">
            <a:xfrm>
              <a:off x="4521200" y="2730500"/>
              <a:ext cx="625475" cy="992188"/>
            </a:xfrm>
            <a:custGeom>
              <a:avLst/>
              <a:gdLst>
                <a:gd name="T0" fmla="*/ 108 w 235"/>
                <a:gd name="T1" fmla="*/ 104 h 372"/>
                <a:gd name="T2" fmla="*/ 104 w 235"/>
                <a:gd name="T3" fmla="*/ 136 h 372"/>
                <a:gd name="T4" fmla="*/ 119 w 235"/>
                <a:gd name="T5" fmla="*/ 122 h 372"/>
                <a:gd name="T6" fmla="*/ 130 w 235"/>
                <a:gd name="T7" fmla="*/ 99 h 372"/>
                <a:gd name="T8" fmla="*/ 108 w 235"/>
                <a:gd name="T9" fmla="*/ 104 h 372"/>
                <a:gd name="T10" fmla="*/ 58 w 235"/>
                <a:gd name="T11" fmla="*/ 0 h 372"/>
                <a:gd name="T12" fmla="*/ 101 w 235"/>
                <a:gd name="T13" fmla="*/ 17 h 372"/>
                <a:gd name="T14" fmla="*/ 107 w 235"/>
                <a:gd name="T15" fmla="*/ 30 h 372"/>
                <a:gd name="T16" fmla="*/ 108 w 235"/>
                <a:gd name="T17" fmla="*/ 81 h 372"/>
                <a:gd name="T18" fmla="*/ 153 w 235"/>
                <a:gd name="T19" fmla="*/ 70 h 372"/>
                <a:gd name="T20" fmla="*/ 159 w 235"/>
                <a:gd name="T21" fmla="*/ 62 h 372"/>
                <a:gd name="T22" fmla="*/ 220 w 235"/>
                <a:gd name="T23" fmla="*/ 101 h 372"/>
                <a:gd name="T24" fmla="*/ 154 w 235"/>
                <a:gd name="T25" fmla="*/ 147 h 372"/>
                <a:gd name="T26" fmla="*/ 165 w 235"/>
                <a:gd name="T27" fmla="*/ 168 h 372"/>
                <a:gd name="T28" fmla="*/ 109 w 235"/>
                <a:gd name="T29" fmla="*/ 192 h 372"/>
                <a:gd name="T30" fmla="*/ 101 w 235"/>
                <a:gd name="T31" fmla="*/ 242 h 372"/>
                <a:gd name="T32" fmla="*/ 102 w 235"/>
                <a:gd name="T33" fmla="*/ 257 h 372"/>
                <a:gd name="T34" fmla="*/ 99 w 235"/>
                <a:gd name="T35" fmla="*/ 267 h 372"/>
                <a:gd name="T36" fmla="*/ 99 w 235"/>
                <a:gd name="T37" fmla="*/ 297 h 372"/>
                <a:gd name="T38" fmla="*/ 96 w 235"/>
                <a:gd name="T39" fmla="*/ 308 h 372"/>
                <a:gd name="T40" fmla="*/ 94 w 235"/>
                <a:gd name="T41" fmla="*/ 332 h 372"/>
                <a:gd name="T42" fmla="*/ 92 w 235"/>
                <a:gd name="T43" fmla="*/ 352 h 372"/>
                <a:gd name="T44" fmla="*/ 88 w 235"/>
                <a:gd name="T45" fmla="*/ 359 h 372"/>
                <a:gd name="T46" fmla="*/ 84 w 235"/>
                <a:gd name="T47" fmla="*/ 372 h 372"/>
                <a:gd name="T48" fmla="*/ 77 w 235"/>
                <a:gd name="T49" fmla="*/ 334 h 372"/>
                <a:gd name="T50" fmla="*/ 74 w 235"/>
                <a:gd name="T51" fmla="*/ 319 h 372"/>
                <a:gd name="T52" fmla="*/ 74 w 235"/>
                <a:gd name="T53" fmla="*/ 210 h 372"/>
                <a:gd name="T54" fmla="*/ 61 w 235"/>
                <a:gd name="T55" fmla="*/ 166 h 372"/>
                <a:gd name="T56" fmla="*/ 71 w 235"/>
                <a:gd name="T57" fmla="*/ 165 h 372"/>
                <a:gd name="T58" fmla="*/ 72 w 235"/>
                <a:gd name="T59" fmla="*/ 112 h 372"/>
                <a:gd name="T60" fmla="*/ 34 w 235"/>
                <a:gd name="T61" fmla="*/ 123 h 372"/>
                <a:gd name="T62" fmla="*/ 0 w 235"/>
                <a:gd name="T63" fmla="*/ 113 h 372"/>
                <a:gd name="T64" fmla="*/ 34 w 235"/>
                <a:gd name="T65" fmla="*/ 101 h 372"/>
                <a:gd name="T66" fmla="*/ 59 w 235"/>
                <a:gd name="T67" fmla="*/ 94 h 372"/>
                <a:gd name="T68" fmla="*/ 73 w 235"/>
                <a:gd name="T69" fmla="*/ 86 h 372"/>
                <a:gd name="T70" fmla="*/ 74 w 235"/>
                <a:gd name="T71" fmla="*/ 62 h 372"/>
                <a:gd name="T72" fmla="*/ 67 w 235"/>
                <a:gd name="T73" fmla="*/ 29 h 372"/>
                <a:gd name="T74" fmla="*/ 67 w 235"/>
                <a:gd name="T75" fmla="*/ 14 h 372"/>
                <a:gd name="T76" fmla="*/ 58 w 235"/>
                <a:gd name="T77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5" h="372">
                  <a:moveTo>
                    <a:pt x="108" y="104"/>
                  </a:moveTo>
                  <a:cubicBezTo>
                    <a:pt x="104" y="113"/>
                    <a:pt x="102" y="128"/>
                    <a:pt x="104" y="136"/>
                  </a:cubicBezTo>
                  <a:cubicBezTo>
                    <a:pt x="113" y="135"/>
                    <a:pt x="110" y="123"/>
                    <a:pt x="119" y="122"/>
                  </a:cubicBezTo>
                  <a:cubicBezTo>
                    <a:pt x="120" y="112"/>
                    <a:pt x="128" y="110"/>
                    <a:pt x="130" y="99"/>
                  </a:cubicBezTo>
                  <a:cubicBezTo>
                    <a:pt x="121" y="99"/>
                    <a:pt x="115" y="102"/>
                    <a:pt x="108" y="104"/>
                  </a:cubicBezTo>
                  <a:close/>
                  <a:moveTo>
                    <a:pt x="58" y="0"/>
                  </a:moveTo>
                  <a:cubicBezTo>
                    <a:pt x="76" y="1"/>
                    <a:pt x="92" y="5"/>
                    <a:pt x="101" y="17"/>
                  </a:cubicBezTo>
                  <a:cubicBezTo>
                    <a:pt x="103" y="20"/>
                    <a:pt x="106" y="27"/>
                    <a:pt x="107" y="30"/>
                  </a:cubicBezTo>
                  <a:cubicBezTo>
                    <a:pt x="110" y="49"/>
                    <a:pt x="100" y="65"/>
                    <a:pt x="108" y="81"/>
                  </a:cubicBezTo>
                  <a:cubicBezTo>
                    <a:pt x="124" y="80"/>
                    <a:pt x="141" y="73"/>
                    <a:pt x="153" y="70"/>
                  </a:cubicBezTo>
                  <a:cubicBezTo>
                    <a:pt x="156" y="69"/>
                    <a:pt x="156" y="64"/>
                    <a:pt x="159" y="62"/>
                  </a:cubicBezTo>
                  <a:cubicBezTo>
                    <a:pt x="183" y="65"/>
                    <a:pt x="235" y="70"/>
                    <a:pt x="220" y="101"/>
                  </a:cubicBezTo>
                  <a:cubicBezTo>
                    <a:pt x="195" y="114"/>
                    <a:pt x="168" y="124"/>
                    <a:pt x="154" y="147"/>
                  </a:cubicBezTo>
                  <a:cubicBezTo>
                    <a:pt x="158" y="154"/>
                    <a:pt x="168" y="158"/>
                    <a:pt x="165" y="168"/>
                  </a:cubicBezTo>
                  <a:cubicBezTo>
                    <a:pt x="143" y="173"/>
                    <a:pt x="122" y="179"/>
                    <a:pt x="109" y="192"/>
                  </a:cubicBezTo>
                  <a:cubicBezTo>
                    <a:pt x="109" y="208"/>
                    <a:pt x="102" y="225"/>
                    <a:pt x="101" y="242"/>
                  </a:cubicBezTo>
                  <a:cubicBezTo>
                    <a:pt x="100" y="247"/>
                    <a:pt x="102" y="252"/>
                    <a:pt x="102" y="257"/>
                  </a:cubicBezTo>
                  <a:cubicBezTo>
                    <a:pt x="102" y="260"/>
                    <a:pt x="100" y="264"/>
                    <a:pt x="99" y="267"/>
                  </a:cubicBezTo>
                  <a:cubicBezTo>
                    <a:pt x="99" y="277"/>
                    <a:pt x="101" y="288"/>
                    <a:pt x="99" y="297"/>
                  </a:cubicBezTo>
                  <a:cubicBezTo>
                    <a:pt x="99" y="301"/>
                    <a:pt x="96" y="304"/>
                    <a:pt x="96" y="308"/>
                  </a:cubicBezTo>
                  <a:cubicBezTo>
                    <a:pt x="95" y="316"/>
                    <a:pt x="95" y="325"/>
                    <a:pt x="94" y="332"/>
                  </a:cubicBezTo>
                  <a:cubicBezTo>
                    <a:pt x="92" y="339"/>
                    <a:pt x="94" y="347"/>
                    <a:pt x="92" y="352"/>
                  </a:cubicBezTo>
                  <a:cubicBezTo>
                    <a:pt x="91" y="355"/>
                    <a:pt x="89" y="357"/>
                    <a:pt x="88" y="359"/>
                  </a:cubicBezTo>
                  <a:cubicBezTo>
                    <a:pt x="86" y="363"/>
                    <a:pt x="89" y="370"/>
                    <a:pt x="84" y="372"/>
                  </a:cubicBezTo>
                  <a:cubicBezTo>
                    <a:pt x="73" y="365"/>
                    <a:pt x="78" y="348"/>
                    <a:pt x="77" y="334"/>
                  </a:cubicBezTo>
                  <a:cubicBezTo>
                    <a:pt x="76" y="329"/>
                    <a:pt x="75" y="324"/>
                    <a:pt x="74" y="319"/>
                  </a:cubicBezTo>
                  <a:cubicBezTo>
                    <a:pt x="72" y="282"/>
                    <a:pt x="79" y="236"/>
                    <a:pt x="74" y="210"/>
                  </a:cubicBezTo>
                  <a:cubicBezTo>
                    <a:pt x="72" y="196"/>
                    <a:pt x="48" y="186"/>
                    <a:pt x="61" y="166"/>
                  </a:cubicBezTo>
                  <a:cubicBezTo>
                    <a:pt x="63" y="164"/>
                    <a:pt x="67" y="165"/>
                    <a:pt x="71" y="165"/>
                  </a:cubicBezTo>
                  <a:cubicBezTo>
                    <a:pt x="75" y="152"/>
                    <a:pt x="76" y="125"/>
                    <a:pt x="72" y="112"/>
                  </a:cubicBezTo>
                  <a:cubicBezTo>
                    <a:pt x="61" y="114"/>
                    <a:pt x="50" y="123"/>
                    <a:pt x="34" y="123"/>
                  </a:cubicBezTo>
                  <a:cubicBezTo>
                    <a:pt x="22" y="123"/>
                    <a:pt x="6" y="121"/>
                    <a:pt x="0" y="113"/>
                  </a:cubicBezTo>
                  <a:cubicBezTo>
                    <a:pt x="13" y="109"/>
                    <a:pt x="23" y="105"/>
                    <a:pt x="34" y="101"/>
                  </a:cubicBezTo>
                  <a:cubicBezTo>
                    <a:pt x="42" y="99"/>
                    <a:pt x="50" y="97"/>
                    <a:pt x="59" y="94"/>
                  </a:cubicBezTo>
                  <a:cubicBezTo>
                    <a:pt x="65" y="92"/>
                    <a:pt x="70" y="92"/>
                    <a:pt x="73" y="86"/>
                  </a:cubicBezTo>
                  <a:cubicBezTo>
                    <a:pt x="75" y="81"/>
                    <a:pt x="75" y="70"/>
                    <a:pt x="74" y="62"/>
                  </a:cubicBezTo>
                  <a:cubicBezTo>
                    <a:pt x="74" y="50"/>
                    <a:pt x="69" y="39"/>
                    <a:pt x="67" y="29"/>
                  </a:cubicBezTo>
                  <a:cubicBezTo>
                    <a:pt x="66" y="23"/>
                    <a:pt x="68" y="18"/>
                    <a:pt x="67" y="14"/>
                  </a:cubicBezTo>
                  <a:cubicBezTo>
                    <a:pt x="65" y="8"/>
                    <a:pt x="59" y="8"/>
                    <a:pt x="58" y="0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37" name="í$1íḋé"/>
            <p:cNvSpPr/>
            <p:nvPr/>
          </p:nvSpPr>
          <p:spPr bwMode="auto">
            <a:xfrm>
              <a:off x="5478463" y="2781300"/>
              <a:ext cx="555625" cy="874713"/>
            </a:xfrm>
            <a:custGeom>
              <a:avLst/>
              <a:gdLst>
                <a:gd name="T0" fmla="*/ 196 w 209"/>
                <a:gd name="T1" fmla="*/ 315 h 328"/>
                <a:gd name="T2" fmla="*/ 137 w 209"/>
                <a:gd name="T3" fmla="*/ 286 h 328"/>
                <a:gd name="T4" fmla="*/ 121 w 209"/>
                <a:gd name="T5" fmla="*/ 269 h 328"/>
                <a:gd name="T6" fmla="*/ 126 w 209"/>
                <a:gd name="T7" fmla="*/ 267 h 328"/>
                <a:gd name="T8" fmla="*/ 121 w 209"/>
                <a:gd name="T9" fmla="*/ 257 h 328"/>
                <a:gd name="T10" fmla="*/ 134 w 209"/>
                <a:gd name="T11" fmla="*/ 261 h 328"/>
                <a:gd name="T12" fmla="*/ 140 w 209"/>
                <a:gd name="T13" fmla="*/ 267 h 328"/>
                <a:gd name="T14" fmla="*/ 163 w 209"/>
                <a:gd name="T15" fmla="*/ 277 h 328"/>
                <a:gd name="T16" fmla="*/ 175 w 209"/>
                <a:gd name="T17" fmla="*/ 251 h 328"/>
                <a:gd name="T18" fmla="*/ 163 w 209"/>
                <a:gd name="T19" fmla="*/ 99 h 328"/>
                <a:gd name="T20" fmla="*/ 155 w 209"/>
                <a:gd name="T21" fmla="*/ 55 h 328"/>
                <a:gd name="T22" fmla="*/ 138 w 209"/>
                <a:gd name="T23" fmla="*/ 12 h 328"/>
                <a:gd name="T24" fmla="*/ 90 w 209"/>
                <a:gd name="T25" fmla="*/ 22 h 328"/>
                <a:gd name="T26" fmla="*/ 72 w 209"/>
                <a:gd name="T27" fmla="*/ 26 h 328"/>
                <a:gd name="T28" fmla="*/ 46 w 209"/>
                <a:gd name="T29" fmla="*/ 42 h 328"/>
                <a:gd name="T30" fmla="*/ 0 w 209"/>
                <a:gd name="T31" fmla="*/ 56 h 328"/>
                <a:gd name="T32" fmla="*/ 27 w 209"/>
                <a:gd name="T33" fmla="*/ 38 h 328"/>
                <a:gd name="T34" fmla="*/ 89 w 209"/>
                <a:gd name="T35" fmla="*/ 13 h 328"/>
                <a:gd name="T36" fmla="*/ 124 w 209"/>
                <a:gd name="T37" fmla="*/ 4 h 328"/>
                <a:gd name="T38" fmla="*/ 190 w 209"/>
                <a:gd name="T39" fmla="*/ 24 h 328"/>
                <a:gd name="T40" fmla="*/ 201 w 209"/>
                <a:gd name="T41" fmla="*/ 47 h 328"/>
                <a:gd name="T42" fmla="*/ 192 w 209"/>
                <a:gd name="T43" fmla="*/ 65 h 328"/>
                <a:gd name="T44" fmla="*/ 194 w 209"/>
                <a:gd name="T45" fmla="*/ 109 h 328"/>
                <a:gd name="T46" fmla="*/ 194 w 209"/>
                <a:gd name="T47" fmla="*/ 131 h 328"/>
                <a:gd name="T48" fmla="*/ 198 w 209"/>
                <a:gd name="T49" fmla="*/ 153 h 328"/>
                <a:gd name="T50" fmla="*/ 200 w 209"/>
                <a:gd name="T51" fmla="*/ 198 h 328"/>
                <a:gd name="T52" fmla="*/ 202 w 209"/>
                <a:gd name="T53" fmla="*/ 221 h 328"/>
                <a:gd name="T54" fmla="*/ 204 w 209"/>
                <a:gd name="T55" fmla="*/ 236 h 328"/>
                <a:gd name="T56" fmla="*/ 206 w 209"/>
                <a:gd name="T57" fmla="*/ 245 h 328"/>
                <a:gd name="T58" fmla="*/ 196 w 209"/>
                <a:gd name="T59" fmla="*/ 315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9" h="328">
                  <a:moveTo>
                    <a:pt x="196" y="315"/>
                  </a:moveTo>
                  <a:cubicBezTo>
                    <a:pt x="168" y="328"/>
                    <a:pt x="152" y="301"/>
                    <a:pt x="137" y="286"/>
                  </a:cubicBezTo>
                  <a:cubicBezTo>
                    <a:pt x="130" y="280"/>
                    <a:pt x="122" y="276"/>
                    <a:pt x="121" y="269"/>
                  </a:cubicBezTo>
                  <a:cubicBezTo>
                    <a:pt x="120" y="264"/>
                    <a:pt x="125" y="267"/>
                    <a:pt x="126" y="267"/>
                  </a:cubicBezTo>
                  <a:cubicBezTo>
                    <a:pt x="130" y="263"/>
                    <a:pt x="120" y="263"/>
                    <a:pt x="121" y="257"/>
                  </a:cubicBezTo>
                  <a:cubicBezTo>
                    <a:pt x="124" y="263"/>
                    <a:pt x="132" y="260"/>
                    <a:pt x="134" y="261"/>
                  </a:cubicBezTo>
                  <a:cubicBezTo>
                    <a:pt x="136" y="262"/>
                    <a:pt x="138" y="266"/>
                    <a:pt x="140" y="267"/>
                  </a:cubicBezTo>
                  <a:cubicBezTo>
                    <a:pt x="147" y="271"/>
                    <a:pt x="154" y="273"/>
                    <a:pt x="163" y="277"/>
                  </a:cubicBezTo>
                  <a:cubicBezTo>
                    <a:pt x="173" y="272"/>
                    <a:pt x="170" y="259"/>
                    <a:pt x="175" y="251"/>
                  </a:cubicBezTo>
                  <a:cubicBezTo>
                    <a:pt x="172" y="204"/>
                    <a:pt x="168" y="155"/>
                    <a:pt x="163" y="99"/>
                  </a:cubicBezTo>
                  <a:cubicBezTo>
                    <a:pt x="162" y="85"/>
                    <a:pt x="159" y="71"/>
                    <a:pt x="155" y="55"/>
                  </a:cubicBezTo>
                  <a:cubicBezTo>
                    <a:pt x="150" y="39"/>
                    <a:pt x="147" y="18"/>
                    <a:pt x="138" y="12"/>
                  </a:cubicBezTo>
                  <a:cubicBezTo>
                    <a:pt x="119" y="11"/>
                    <a:pt x="104" y="17"/>
                    <a:pt x="90" y="22"/>
                  </a:cubicBezTo>
                  <a:cubicBezTo>
                    <a:pt x="84" y="23"/>
                    <a:pt x="78" y="24"/>
                    <a:pt x="72" y="26"/>
                  </a:cubicBezTo>
                  <a:cubicBezTo>
                    <a:pt x="63" y="31"/>
                    <a:pt x="55" y="37"/>
                    <a:pt x="46" y="42"/>
                  </a:cubicBezTo>
                  <a:cubicBezTo>
                    <a:pt x="32" y="50"/>
                    <a:pt x="17" y="57"/>
                    <a:pt x="0" y="56"/>
                  </a:cubicBezTo>
                  <a:cubicBezTo>
                    <a:pt x="6" y="48"/>
                    <a:pt x="16" y="43"/>
                    <a:pt x="27" y="38"/>
                  </a:cubicBezTo>
                  <a:cubicBezTo>
                    <a:pt x="47" y="29"/>
                    <a:pt x="67" y="21"/>
                    <a:pt x="89" y="13"/>
                  </a:cubicBezTo>
                  <a:cubicBezTo>
                    <a:pt x="100" y="10"/>
                    <a:pt x="114" y="5"/>
                    <a:pt x="124" y="4"/>
                  </a:cubicBezTo>
                  <a:cubicBezTo>
                    <a:pt x="155" y="0"/>
                    <a:pt x="169" y="15"/>
                    <a:pt x="190" y="24"/>
                  </a:cubicBezTo>
                  <a:cubicBezTo>
                    <a:pt x="194" y="32"/>
                    <a:pt x="202" y="37"/>
                    <a:pt x="201" y="47"/>
                  </a:cubicBezTo>
                  <a:cubicBezTo>
                    <a:pt x="201" y="54"/>
                    <a:pt x="193" y="59"/>
                    <a:pt x="192" y="65"/>
                  </a:cubicBezTo>
                  <a:cubicBezTo>
                    <a:pt x="189" y="76"/>
                    <a:pt x="193" y="95"/>
                    <a:pt x="194" y="109"/>
                  </a:cubicBezTo>
                  <a:cubicBezTo>
                    <a:pt x="194" y="116"/>
                    <a:pt x="193" y="123"/>
                    <a:pt x="194" y="131"/>
                  </a:cubicBezTo>
                  <a:cubicBezTo>
                    <a:pt x="195" y="138"/>
                    <a:pt x="197" y="146"/>
                    <a:pt x="198" y="153"/>
                  </a:cubicBezTo>
                  <a:cubicBezTo>
                    <a:pt x="198" y="170"/>
                    <a:pt x="197" y="184"/>
                    <a:pt x="200" y="198"/>
                  </a:cubicBezTo>
                  <a:cubicBezTo>
                    <a:pt x="201" y="206"/>
                    <a:pt x="201" y="214"/>
                    <a:pt x="202" y="221"/>
                  </a:cubicBezTo>
                  <a:cubicBezTo>
                    <a:pt x="203" y="226"/>
                    <a:pt x="203" y="229"/>
                    <a:pt x="204" y="236"/>
                  </a:cubicBezTo>
                  <a:cubicBezTo>
                    <a:pt x="204" y="239"/>
                    <a:pt x="206" y="242"/>
                    <a:pt x="206" y="245"/>
                  </a:cubicBezTo>
                  <a:cubicBezTo>
                    <a:pt x="209" y="272"/>
                    <a:pt x="200" y="292"/>
                    <a:pt x="196" y="315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38" name="îSḷïḍè"/>
            <p:cNvSpPr/>
            <p:nvPr/>
          </p:nvSpPr>
          <p:spPr bwMode="auto">
            <a:xfrm>
              <a:off x="6584950" y="3217863"/>
              <a:ext cx="471488" cy="341313"/>
            </a:xfrm>
            <a:custGeom>
              <a:avLst/>
              <a:gdLst>
                <a:gd name="T0" fmla="*/ 123 w 177"/>
                <a:gd name="T1" fmla="*/ 0 h 128"/>
                <a:gd name="T2" fmla="*/ 175 w 177"/>
                <a:gd name="T3" fmla="*/ 43 h 128"/>
                <a:gd name="T4" fmla="*/ 150 w 177"/>
                <a:gd name="T5" fmla="*/ 60 h 128"/>
                <a:gd name="T6" fmla="*/ 142 w 177"/>
                <a:gd name="T7" fmla="*/ 69 h 128"/>
                <a:gd name="T8" fmla="*/ 135 w 177"/>
                <a:gd name="T9" fmla="*/ 91 h 128"/>
                <a:gd name="T10" fmla="*/ 138 w 177"/>
                <a:gd name="T11" fmla="*/ 102 h 128"/>
                <a:gd name="T12" fmla="*/ 128 w 177"/>
                <a:gd name="T13" fmla="*/ 115 h 128"/>
                <a:gd name="T14" fmla="*/ 96 w 177"/>
                <a:gd name="T15" fmla="*/ 128 h 128"/>
                <a:gd name="T16" fmla="*/ 63 w 177"/>
                <a:gd name="T17" fmla="*/ 109 h 128"/>
                <a:gd name="T18" fmla="*/ 49 w 177"/>
                <a:gd name="T19" fmla="*/ 89 h 128"/>
                <a:gd name="T20" fmla="*/ 34 w 177"/>
                <a:gd name="T21" fmla="*/ 70 h 128"/>
                <a:gd name="T22" fmla="*/ 12 w 177"/>
                <a:gd name="T23" fmla="*/ 58 h 128"/>
                <a:gd name="T24" fmla="*/ 0 w 177"/>
                <a:gd name="T25" fmla="*/ 40 h 128"/>
                <a:gd name="T26" fmla="*/ 39 w 177"/>
                <a:gd name="T27" fmla="*/ 51 h 128"/>
                <a:gd name="T28" fmla="*/ 71 w 177"/>
                <a:gd name="T29" fmla="*/ 97 h 128"/>
                <a:gd name="T30" fmla="*/ 76 w 177"/>
                <a:gd name="T31" fmla="*/ 78 h 128"/>
                <a:gd name="T32" fmla="*/ 83 w 177"/>
                <a:gd name="T33" fmla="*/ 77 h 128"/>
                <a:gd name="T34" fmla="*/ 105 w 177"/>
                <a:gd name="T35" fmla="*/ 43 h 128"/>
                <a:gd name="T36" fmla="*/ 75 w 177"/>
                <a:gd name="T37" fmla="*/ 21 h 128"/>
                <a:gd name="T38" fmla="*/ 123 w 177"/>
                <a:gd name="T39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7" h="128">
                  <a:moveTo>
                    <a:pt x="123" y="0"/>
                  </a:moveTo>
                  <a:cubicBezTo>
                    <a:pt x="146" y="6"/>
                    <a:pt x="177" y="4"/>
                    <a:pt x="175" y="43"/>
                  </a:cubicBezTo>
                  <a:cubicBezTo>
                    <a:pt x="166" y="47"/>
                    <a:pt x="158" y="52"/>
                    <a:pt x="150" y="60"/>
                  </a:cubicBezTo>
                  <a:cubicBezTo>
                    <a:pt x="148" y="63"/>
                    <a:pt x="144" y="65"/>
                    <a:pt x="142" y="69"/>
                  </a:cubicBezTo>
                  <a:cubicBezTo>
                    <a:pt x="140" y="71"/>
                    <a:pt x="134" y="87"/>
                    <a:pt x="135" y="91"/>
                  </a:cubicBezTo>
                  <a:cubicBezTo>
                    <a:pt x="135" y="95"/>
                    <a:pt x="139" y="99"/>
                    <a:pt x="138" y="102"/>
                  </a:cubicBezTo>
                  <a:cubicBezTo>
                    <a:pt x="137" y="108"/>
                    <a:pt x="131" y="112"/>
                    <a:pt x="128" y="115"/>
                  </a:cubicBezTo>
                  <a:cubicBezTo>
                    <a:pt x="114" y="112"/>
                    <a:pt x="102" y="119"/>
                    <a:pt x="96" y="128"/>
                  </a:cubicBezTo>
                  <a:cubicBezTo>
                    <a:pt x="80" y="127"/>
                    <a:pt x="79" y="111"/>
                    <a:pt x="63" y="109"/>
                  </a:cubicBezTo>
                  <a:cubicBezTo>
                    <a:pt x="58" y="102"/>
                    <a:pt x="54" y="96"/>
                    <a:pt x="49" y="89"/>
                  </a:cubicBezTo>
                  <a:cubicBezTo>
                    <a:pt x="44" y="83"/>
                    <a:pt x="40" y="75"/>
                    <a:pt x="34" y="70"/>
                  </a:cubicBezTo>
                  <a:cubicBezTo>
                    <a:pt x="28" y="65"/>
                    <a:pt x="18" y="63"/>
                    <a:pt x="12" y="58"/>
                  </a:cubicBezTo>
                  <a:cubicBezTo>
                    <a:pt x="6" y="54"/>
                    <a:pt x="3" y="47"/>
                    <a:pt x="0" y="40"/>
                  </a:cubicBezTo>
                  <a:cubicBezTo>
                    <a:pt x="15" y="42"/>
                    <a:pt x="29" y="45"/>
                    <a:pt x="39" y="51"/>
                  </a:cubicBezTo>
                  <a:cubicBezTo>
                    <a:pt x="47" y="69"/>
                    <a:pt x="57" y="86"/>
                    <a:pt x="71" y="97"/>
                  </a:cubicBezTo>
                  <a:cubicBezTo>
                    <a:pt x="76" y="94"/>
                    <a:pt x="71" y="83"/>
                    <a:pt x="76" y="78"/>
                  </a:cubicBezTo>
                  <a:cubicBezTo>
                    <a:pt x="79" y="76"/>
                    <a:pt x="79" y="77"/>
                    <a:pt x="83" y="77"/>
                  </a:cubicBezTo>
                  <a:cubicBezTo>
                    <a:pt x="94" y="69"/>
                    <a:pt x="101" y="57"/>
                    <a:pt x="105" y="43"/>
                  </a:cubicBezTo>
                  <a:cubicBezTo>
                    <a:pt x="99" y="31"/>
                    <a:pt x="83" y="30"/>
                    <a:pt x="75" y="21"/>
                  </a:cubicBezTo>
                  <a:cubicBezTo>
                    <a:pt x="90" y="20"/>
                    <a:pt x="117" y="18"/>
                    <a:pt x="123" y="0"/>
                  </a:cubicBezTo>
                  <a:close/>
                </a:path>
              </a:pathLst>
            </a:custGeom>
            <a:solidFill>
              <a:srgbClr val="E6001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39" name="îş1íḋê"/>
            <p:cNvSpPr/>
            <p:nvPr/>
          </p:nvSpPr>
          <p:spPr bwMode="auto">
            <a:xfrm>
              <a:off x="4383088" y="3914775"/>
              <a:ext cx="177800" cy="219075"/>
            </a:xfrm>
            <a:custGeom>
              <a:avLst/>
              <a:gdLst>
                <a:gd name="T0" fmla="*/ 41 w 67"/>
                <a:gd name="T1" fmla="*/ 76 h 82"/>
                <a:gd name="T2" fmla="*/ 15 w 67"/>
                <a:gd name="T3" fmla="*/ 40 h 82"/>
                <a:gd name="T4" fmla="*/ 40 w 67"/>
                <a:gd name="T5" fmla="*/ 7 h 82"/>
                <a:gd name="T6" fmla="*/ 60 w 67"/>
                <a:gd name="T7" fmla="*/ 26 h 82"/>
                <a:gd name="T8" fmla="*/ 64 w 67"/>
                <a:gd name="T9" fmla="*/ 26 h 82"/>
                <a:gd name="T10" fmla="*/ 63 w 67"/>
                <a:gd name="T11" fmla="*/ 4 h 82"/>
                <a:gd name="T12" fmla="*/ 61 w 67"/>
                <a:gd name="T13" fmla="*/ 4 h 82"/>
                <a:gd name="T14" fmla="*/ 59 w 67"/>
                <a:gd name="T15" fmla="*/ 5 h 82"/>
                <a:gd name="T16" fmla="*/ 55 w 67"/>
                <a:gd name="T17" fmla="*/ 4 h 82"/>
                <a:gd name="T18" fmla="*/ 39 w 67"/>
                <a:gd name="T19" fmla="*/ 0 h 82"/>
                <a:gd name="T20" fmla="*/ 0 w 67"/>
                <a:gd name="T21" fmla="*/ 42 h 82"/>
                <a:gd name="T22" fmla="*/ 37 w 67"/>
                <a:gd name="T23" fmla="*/ 82 h 82"/>
                <a:gd name="T24" fmla="*/ 48 w 67"/>
                <a:gd name="T25" fmla="*/ 81 h 82"/>
                <a:gd name="T26" fmla="*/ 55 w 67"/>
                <a:gd name="T27" fmla="*/ 80 h 82"/>
                <a:gd name="T28" fmla="*/ 61 w 67"/>
                <a:gd name="T29" fmla="*/ 81 h 82"/>
                <a:gd name="T30" fmla="*/ 67 w 67"/>
                <a:gd name="T31" fmla="*/ 58 h 82"/>
                <a:gd name="T32" fmla="*/ 62 w 67"/>
                <a:gd name="T33" fmla="*/ 58 h 82"/>
                <a:gd name="T34" fmla="*/ 41 w 67"/>
                <a:gd name="T35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" h="82">
                  <a:moveTo>
                    <a:pt x="41" y="76"/>
                  </a:moveTo>
                  <a:cubicBezTo>
                    <a:pt x="25" y="74"/>
                    <a:pt x="17" y="62"/>
                    <a:pt x="15" y="40"/>
                  </a:cubicBezTo>
                  <a:cubicBezTo>
                    <a:pt x="16" y="19"/>
                    <a:pt x="25" y="8"/>
                    <a:pt x="40" y="7"/>
                  </a:cubicBezTo>
                  <a:cubicBezTo>
                    <a:pt x="50" y="7"/>
                    <a:pt x="57" y="14"/>
                    <a:pt x="60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0" y="5"/>
                    <a:pt x="59" y="5"/>
                    <a:pt x="59" y="5"/>
                  </a:cubicBezTo>
                  <a:cubicBezTo>
                    <a:pt x="58" y="5"/>
                    <a:pt x="57" y="5"/>
                    <a:pt x="55" y="4"/>
                  </a:cubicBezTo>
                  <a:cubicBezTo>
                    <a:pt x="50" y="2"/>
                    <a:pt x="44" y="0"/>
                    <a:pt x="39" y="0"/>
                  </a:cubicBezTo>
                  <a:cubicBezTo>
                    <a:pt x="15" y="3"/>
                    <a:pt x="2" y="16"/>
                    <a:pt x="0" y="42"/>
                  </a:cubicBezTo>
                  <a:cubicBezTo>
                    <a:pt x="2" y="66"/>
                    <a:pt x="14" y="80"/>
                    <a:pt x="37" y="82"/>
                  </a:cubicBezTo>
                  <a:cubicBezTo>
                    <a:pt x="40" y="82"/>
                    <a:pt x="44" y="81"/>
                    <a:pt x="48" y="81"/>
                  </a:cubicBezTo>
                  <a:cubicBezTo>
                    <a:pt x="51" y="80"/>
                    <a:pt x="53" y="80"/>
                    <a:pt x="55" y="80"/>
                  </a:cubicBezTo>
                  <a:cubicBezTo>
                    <a:pt x="57" y="80"/>
                    <a:pt x="59" y="80"/>
                    <a:pt x="61" y="81"/>
                  </a:cubicBezTo>
                  <a:cubicBezTo>
                    <a:pt x="63" y="74"/>
                    <a:pt x="65" y="66"/>
                    <a:pt x="67" y="58"/>
                  </a:cubicBezTo>
                  <a:cubicBezTo>
                    <a:pt x="62" y="58"/>
                    <a:pt x="62" y="58"/>
                    <a:pt x="62" y="58"/>
                  </a:cubicBezTo>
                  <a:cubicBezTo>
                    <a:pt x="58" y="70"/>
                    <a:pt x="51" y="76"/>
                    <a:pt x="41" y="76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40" name="îšḻiḋe"/>
            <p:cNvSpPr/>
            <p:nvPr/>
          </p:nvSpPr>
          <p:spPr bwMode="auto">
            <a:xfrm>
              <a:off x="4592638" y="3919538"/>
              <a:ext cx="215900" cy="211138"/>
            </a:xfrm>
            <a:custGeom>
              <a:avLst/>
              <a:gdLst>
                <a:gd name="T0" fmla="*/ 48 w 81"/>
                <a:gd name="T1" fmla="*/ 5 h 79"/>
                <a:gd name="T2" fmla="*/ 49 w 81"/>
                <a:gd name="T3" fmla="*/ 5 h 79"/>
                <a:gd name="T4" fmla="*/ 57 w 81"/>
                <a:gd name="T5" fmla="*/ 15 h 79"/>
                <a:gd name="T6" fmla="*/ 57 w 81"/>
                <a:gd name="T7" fmla="*/ 34 h 79"/>
                <a:gd name="T8" fmla="*/ 23 w 81"/>
                <a:gd name="T9" fmla="*/ 34 h 79"/>
                <a:gd name="T10" fmla="*/ 23 w 81"/>
                <a:gd name="T11" fmla="*/ 14 h 79"/>
                <a:gd name="T12" fmla="*/ 31 w 81"/>
                <a:gd name="T13" fmla="*/ 5 h 79"/>
                <a:gd name="T14" fmla="*/ 33 w 81"/>
                <a:gd name="T15" fmla="*/ 5 h 79"/>
                <a:gd name="T16" fmla="*/ 33 w 81"/>
                <a:gd name="T17" fmla="*/ 0 h 79"/>
                <a:gd name="T18" fmla="*/ 0 w 81"/>
                <a:gd name="T19" fmla="*/ 0 h 79"/>
                <a:gd name="T20" fmla="*/ 0 w 81"/>
                <a:gd name="T21" fmla="*/ 5 h 79"/>
                <a:gd name="T22" fmla="*/ 2 w 81"/>
                <a:gd name="T23" fmla="*/ 5 h 79"/>
                <a:gd name="T24" fmla="*/ 9 w 81"/>
                <a:gd name="T25" fmla="*/ 14 h 79"/>
                <a:gd name="T26" fmla="*/ 9 w 81"/>
                <a:gd name="T27" fmla="*/ 64 h 79"/>
                <a:gd name="T28" fmla="*/ 2 w 81"/>
                <a:gd name="T29" fmla="*/ 74 h 79"/>
                <a:gd name="T30" fmla="*/ 0 w 81"/>
                <a:gd name="T31" fmla="*/ 74 h 79"/>
                <a:gd name="T32" fmla="*/ 0 w 81"/>
                <a:gd name="T33" fmla="*/ 79 h 79"/>
                <a:gd name="T34" fmla="*/ 33 w 81"/>
                <a:gd name="T35" fmla="*/ 79 h 79"/>
                <a:gd name="T36" fmla="*/ 33 w 81"/>
                <a:gd name="T37" fmla="*/ 74 h 79"/>
                <a:gd name="T38" fmla="*/ 31 w 81"/>
                <a:gd name="T39" fmla="*/ 74 h 79"/>
                <a:gd name="T40" fmla="*/ 23 w 81"/>
                <a:gd name="T41" fmla="*/ 64 h 79"/>
                <a:gd name="T42" fmla="*/ 23 w 81"/>
                <a:gd name="T43" fmla="*/ 42 h 79"/>
                <a:gd name="T44" fmla="*/ 57 w 81"/>
                <a:gd name="T45" fmla="*/ 42 h 79"/>
                <a:gd name="T46" fmla="*/ 57 w 81"/>
                <a:gd name="T47" fmla="*/ 64 h 79"/>
                <a:gd name="T48" fmla="*/ 50 w 81"/>
                <a:gd name="T49" fmla="*/ 74 h 79"/>
                <a:gd name="T50" fmla="*/ 48 w 81"/>
                <a:gd name="T51" fmla="*/ 74 h 79"/>
                <a:gd name="T52" fmla="*/ 48 w 81"/>
                <a:gd name="T53" fmla="*/ 79 h 79"/>
                <a:gd name="T54" fmla="*/ 81 w 81"/>
                <a:gd name="T55" fmla="*/ 79 h 79"/>
                <a:gd name="T56" fmla="*/ 81 w 81"/>
                <a:gd name="T57" fmla="*/ 74 h 79"/>
                <a:gd name="T58" fmla="*/ 79 w 81"/>
                <a:gd name="T59" fmla="*/ 74 h 79"/>
                <a:gd name="T60" fmla="*/ 71 w 81"/>
                <a:gd name="T61" fmla="*/ 64 h 79"/>
                <a:gd name="T62" fmla="*/ 71 w 81"/>
                <a:gd name="T63" fmla="*/ 14 h 79"/>
                <a:gd name="T64" fmla="*/ 79 w 81"/>
                <a:gd name="T65" fmla="*/ 5 h 79"/>
                <a:gd name="T66" fmla="*/ 81 w 81"/>
                <a:gd name="T67" fmla="*/ 5 h 79"/>
                <a:gd name="T68" fmla="*/ 81 w 81"/>
                <a:gd name="T69" fmla="*/ 0 h 79"/>
                <a:gd name="T70" fmla="*/ 48 w 81"/>
                <a:gd name="T71" fmla="*/ 0 h 79"/>
                <a:gd name="T72" fmla="*/ 48 w 81"/>
                <a:gd name="T73" fmla="*/ 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1" h="79">
                  <a:moveTo>
                    <a:pt x="48" y="5"/>
                  </a:moveTo>
                  <a:cubicBezTo>
                    <a:pt x="49" y="5"/>
                    <a:pt x="49" y="5"/>
                    <a:pt x="49" y="5"/>
                  </a:cubicBezTo>
                  <a:cubicBezTo>
                    <a:pt x="55" y="5"/>
                    <a:pt x="57" y="8"/>
                    <a:pt x="57" y="15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8"/>
                    <a:pt x="26" y="5"/>
                    <a:pt x="31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7" y="5"/>
                    <a:pt x="9" y="8"/>
                    <a:pt x="9" y="14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9" y="70"/>
                    <a:pt x="7" y="74"/>
                    <a:pt x="2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3" y="74"/>
                    <a:pt x="33" y="74"/>
                    <a:pt x="33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26" y="74"/>
                    <a:pt x="23" y="70"/>
                    <a:pt x="23" y="64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57" y="64"/>
                    <a:pt x="57" y="64"/>
                    <a:pt x="57" y="64"/>
                  </a:cubicBezTo>
                  <a:cubicBezTo>
                    <a:pt x="57" y="70"/>
                    <a:pt x="55" y="74"/>
                    <a:pt x="50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79" y="74"/>
                    <a:pt x="79" y="74"/>
                    <a:pt x="79" y="74"/>
                  </a:cubicBezTo>
                  <a:cubicBezTo>
                    <a:pt x="73" y="74"/>
                    <a:pt x="71" y="71"/>
                    <a:pt x="71" y="64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1" y="8"/>
                    <a:pt x="73" y="5"/>
                    <a:pt x="79" y="5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48" y="0"/>
                    <a:pt x="48" y="0"/>
                    <a:pt x="48" y="0"/>
                  </a:cubicBezTo>
                  <a:lnTo>
                    <a:pt x="48" y="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41" name="i$ľiḍè"/>
            <p:cNvSpPr/>
            <p:nvPr/>
          </p:nvSpPr>
          <p:spPr bwMode="auto">
            <a:xfrm>
              <a:off x="4837113" y="3919538"/>
              <a:ext cx="85725" cy="211138"/>
            </a:xfrm>
            <a:custGeom>
              <a:avLst/>
              <a:gdLst>
                <a:gd name="T0" fmla="*/ 0 w 32"/>
                <a:gd name="T1" fmla="*/ 5 h 79"/>
                <a:gd name="T2" fmla="*/ 1 w 32"/>
                <a:gd name="T3" fmla="*/ 5 h 79"/>
                <a:gd name="T4" fmla="*/ 8 w 32"/>
                <a:gd name="T5" fmla="*/ 15 h 79"/>
                <a:gd name="T6" fmla="*/ 8 w 32"/>
                <a:gd name="T7" fmla="*/ 65 h 79"/>
                <a:gd name="T8" fmla="*/ 1 w 32"/>
                <a:gd name="T9" fmla="*/ 74 h 79"/>
                <a:gd name="T10" fmla="*/ 0 w 32"/>
                <a:gd name="T11" fmla="*/ 74 h 79"/>
                <a:gd name="T12" fmla="*/ 0 w 32"/>
                <a:gd name="T13" fmla="*/ 79 h 79"/>
                <a:gd name="T14" fmla="*/ 32 w 32"/>
                <a:gd name="T15" fmla="*/ 79 h 79"/>
                <a:gd name="T16" fmla="*/ 32 w 32"/>
                <a:gd name="T17" fmla="*/ 74 h 79"/>
                <a:gd name="T18" fmla="*/ 30 w 32"/>
                <a:gd name="T19" fmla="*/ 74 h 79"/>
                <a:gd name="T20" fmla="*/ 22 w 32"/>
                <a:gd name="T21" fmla="*/ 64 h 79"/>
                <a:gd name="T22" fmla="*/ 22 w 32"/>
                <a:gd name="T23" fmla="*/ 15 h 79"/>
                <a:gd name="T24" fmla="*/ 30 w 32"/>
                <a:gd name="T25" fmla="*/ 5 h 79"/>
                <a:gd name="T26" fmla="*/ 32 w 32"/>
                <a:gd name="T27" fmla="*/ 5 h 79"/>
                <a:gd name="T28" fmla="*/ 32 w 32"/>
                <a:gd name="T29" fmla="*/ 0 h 79"/>
                <a:gd name="T30" fmla="*/ 0 w 32"/>
                <a:gd name="T31" fmla="*/ 0 h 79"/>
                <a:gd name="T32" fmla="*/ 0 w 32"/>
                <a:gd name="T33" fmla="*/ 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0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6" y="5"/>
                    <a:pt x="9" y="8"/>
                    <a:pt x="8" y="15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9" y="71"/>
                    <a:pt x="6" y="74"/>
                    <a:pt x="1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25" y="74"/>
                    <a:pt x="22" y="71"/>
                    <a:pt x="22" y="64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8"/>
                    <a:pt x="25" y="5"/>
                    <a:pt x="30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42" name="ïsḷíďe"/>
            <p:cNvSpPr/>
            <p:nvPr/>
          </p:nvSpPr>
          <p:spPr bwMode="auto">
            <a:xfrm>
              <a:off x="4951413" y="3919538"/>
              <a:ext cx="211138" cy="211138"/>
            </a:xfrm>
            <a:custGeom>
              <a:avLst/>
              <a:gdLst>
                <a:gd name="T0" fmla="*/ 52 w 79"/>
                <a:gd name="T1" fmla="*/ 5 h 79"/>
                <a:gd name="T2" fmla="*/ 54 w 79"/>
                <a:gd name="T3" fmla="*/ 5 h 79"/>
                <a:gd name="T4" fmla="*/ 62 w 79"/>
                <a:gd name="T5" fmla="*/ 7 h 79"/>
                <a:gd name="T6" fmla="*/ 63 w 79"/>
                <a:gd name="T7" fmla="*/ 16 h 79"/>
                <a:gd name="T8" fmla="*/ 63 w 79"/>
                <a:gd name="T9" fmla="*/ 54 h 79"/>
                <a:gd name="T10" fmla="*/ 21 w 79"/>
                <a:gd name="T11" fmla="*/ 0 h 79"/>
                <a:gd name="T12" fmla="*/ 1 w 79"/>
                <a:gd name="T13" fmla="*/ 0 h 79"/>
                <a:gd name="T14" fmla="*/ 1 w 79"/>
                <a:gd name="T15" fmla="*/ 5 h 79"/>
                <a:gd name="T16" fmla="*/ 9 w 79"/>
                <a:gd name="T17" fmla="*/ 8 h 79"/>
                <a:gd name="T18" fmla="*/ 9 w 79"/>
                <a:gd name="T19" fmla="*/ 66 h 79"/>
                <a:gd name="T20" fmla="*/ 1 w 79"/>
                <a:gd name="T21" fmla="*/ 74 h 79"/>
                <a:gd name="T22" fmla="*/ 0 w 79"/>
                <a:gd name="T23" fmla="*/ 74 h 79"/>
                <a:gd name="T24" fmla="*/ 0 w 79"/>
                <a:gd name="T25" fmla="*/ 79 h 79"/>
                <a:gd name="T26" fmla="*/ 25 w 79"/>
                <a:gd name="T27" fmla="*/ 79 h 79"/>
                <a:gd name="T28" fmla="*/ 25 w 79"/>
                <a:gd name="T29" fmla="*/ 74 h 79"/>
                <a:gd name="T30" fmla="*/ 15 w 79"/>
                <a:gd name="T31" fmla="*/ 63 h 79"/>
                <a:gd name="T32" fmla="*/ 15 w 79"/>
                <a:gd name="T33" fmla="*/ 16 h 79"/>
                <a:gd name="T34" fmla="*/ 64 w 79"/>
                <a:gd name="T35" fmla="*/ 79 h 79"/>
                <a:gd name="T36" fmla="*/ 69 w 79"/>
                <a:gd name="T37" fmla="*/ 79 h 79"/>
                <a:gd name="T38" fmla="*/ 69 w 79"/>
                <a:gd name="T39" fmla="*/ 12 h 79"/>
                <a:gd name="T40" fmla="*/ 77 w 79"/>
                <a:gd name="T41" fmla="*/ 5 h 79"/>
                <a:gd name="T42" fmla="*/ 79 w 79"/>
                <a:gd name="T43" fmla="*/ 5 h 79"/>
                <a:gd name="T44" fmla="*/ 79 w 79"/>
                <a:gd name="T45" fmla="*/ 0 h 79"/>
                <a:gd name="T46" fmla="*/ 52 w 79"/>
                <a:gd name="T47" fmla="*/ 0 h 79"/>
                <a:gd name="T48" fmla="*/ 52 w 79"/>
                <a:gd name="T49" fmla="*/ 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79">
                  <a:moveTo>
                    <a:pt x="52" y="5"/>
                  </a:moveTo>
                  <a:cubicBezTo>
                    <a:pt x="54" y="5"/>
                    <a:pt x="54" y="5"/>
                    <a:pt x="54" y="5"/>
                  </a:cubicBezTo>
                  <a:cubicBezTo>
                    <a:pt x="58" y="5"/>
                    <a:pt x="61" y="6"/>
                    <a:pt x="62" y="7"/>
                  </a:cubicBezTo>
                  <a:cubicBezTo>
                    <a:pt x="63" y="8"/>
                    <a:pt x="63" y="11"/>
                    <a:pt x="63" y="16"/>
                  </a:cubicBezTo>
                  <a:cubicBezTo>
                    <a:pt x="63" y="54"/>
                    <a:pt x="63" y="54"/>
                    <a:pt x="63" y="5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4" y="5"/>
                    <a:pt x="7" y="6"/>
                    <a:pt x="9" y="8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9" y="71"/>
                    <a:pt x="6" y="74"/>
                    <a:pt x="1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18" y="74"/>
                    <a:pt x="15" y="71"/>
                    <a:pt x="15" y="63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7"/>
                    <a:pt x="72" y="5"/>
                    <a:pt x="77" y="5"/>
                  </a:cubicBezTo>
                  <a:cubicBezTo>
                    <a:pt x="79" y="5"/>
                    <a:pt x="79" y="5"/>
                    <a:pt x="79" y="5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52" y="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43" name="iṥ1iḓê"/>
            <p:cNvSpPr/>
            <p:nvPr/>
          </p:nvSpPr>
          <p:spPr bwMode="auto">
            <a:xfrm>
              <a:off x="5186363" y="3914775"/>
              <a:ext cx="196850" cy="215900"/>
            </a:xfrm>
            <a:custGeom>
              <a:avLst/>
              <a:gdLst>
                <a:gd name="T0" fmla="*/ 63 w 74"/>
                <a:gd name="T1" fmla="*/ 64 h 81"/>
                <a:gd name="T2" fmla="*/ 43 w 74"/>
                <a:gd name="T3" fmla="*/ 0 h 81"/>
                <a:gd name="T4" fmla="*/ 28 w 74"/>
                <a:gd name="T5" fmla="*/ 0 h 81"/>
                <a:gd name="T6" fmla="*/ 29 w 74"/>
                <a:gd name="T7" fmla="*/ 4 h 81"/>
                <a:gd name="T8" fmla="*/ 12 w 74"/>
                <a:gd name="T9" fmla="*/ 64 h 81"/>
                <a:gd name="T10" fmla="*/ 2 w 74"/>
                <a:gd name="T11" fmla="*/ 76 h 81"/>
                <a:gd name="T12" fmla="*/ 0 w 74"/>
                <a:gd name="T13" fmla="*/ 76 h 81"/>
                <a:gd name="T14" fmla="*/ 0 w 74"/>
                <a:gd name="T15" fmla="*/ 81 h 81"/>
                <a:gd name="T16" fmla="*/ 27 w 74"/>
                <a:gd name="T17" fmla="*/ 81 h 81"/>
                <a:gd name="T18" fmla="*/ 27 w 74"/>
                <a:gd name="T19" fmla="*/ 76 h 81"/>
                <a:gd name="T20" fmla="*/ 26 w 74"/>
                <a:gd name="T21" fmla="*/ 76 h 81"/>
                <a:gd name="T22" fmla="*/ 18 w 74"/>
                <a:gd name="T23" fmla="*/ 74 h 81"/>
                <a:gd name="T24" fmla="*/ 18 w 74"/>
                <a:gd name="T25" fmla="*/ 66 h 81"/>
                <a:gd name="T26" fmla="*/ 22 w 74"/>
                <a:gd name="T27" fmla="*/ 51 h 81"/>
                <a:gd name="T28" fmla="*/ 44 w 74"/>
                <a:gd name="T29" fmla="*/ 51 h 81"/>
                <a:gd name="T30" fmla="*/ 49 w 74"/>
                <a:gd name="T31" fmla="*/ 66 h 81"/>
                <a:gd name="T32" fmla="*/ 50 w 74"/>
                <a:gd name="T33" fmla="*/ 73 h 81"/>
                <a:gd name="T34" fmla="*/ 44 w 74"/>
                <a:gd name="T35" fmla="*/ 76 h 81"/>
                <a:gd name="T36" fmla="*/ 41 w 74"/>
                <a:gd name="T37" fmla="*/ 76 h 81"/>
                <a:gd name="T38" fmla="*/ 41 w 74"/>
                <a:gd name="T39" fmla="*/ 81 h 81"/>
                <a:gd name="T40" fmla="*/ 74 w 74"/>
                <a:gd name="T41" fmla="*/ 81 h 81"/>
                <a:gd name="T42" fmla="*/ 74 w 74"/>
                <a:gd name="T43" fmla="*/ 76 h 81"/>
                <a:gd name="T44" fmla="*/ 63 w 74"/>
                <a:gd name="T45" fmla="*/ 64 h 81"/>
                <a:gd name="T46" fmla="*/ 24 w 74"/>
                <a:gd name="T47" fmla="*/ 45 h 81"/>
                <a:gd name="T48" fmla="*/ 33 w 74"/>
                <a:gd name="T49" fmla="*/ 15 h 81"/>
                <a:gd name="T50" fmla="*/ 42 w 74"/>
                <a:gd name="T51" fmla="*/ 45 h 81"/>
                <a:gd name="T52" fmla="*/ 24 w 74"/>
                <a:gd name="T53" fmla="*/ 4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4" h="81">
                  <a:moveTo>
                    <a:pt x="63" y="64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0" y="72"/>
                    <a:pt x="6" y="76"/>
                    <a:pt x="2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2" y="76"/>
                    <a:pt x="19" y="75"/>
                    <a:pt x="18" y="74"/>
                  </a:cubicBezTo>
                  <a:cubicBezTo>
                    <a:pt x="17" y="73"/>
                    <a:pt x="17" y="70"/>
                    <a:pt x="18" y="66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44" y="51"/>
                    <a:pt x="44" y="51"/>
                    <a:pt x="44" y="51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50" y="69"/>
                    <a:pt x="51" y="71"/>
                    <a:pt x="50" y="73"/>
                  </a:cubicBezTo>
                  <a:cubicBezTo>
                    <a:pt x="49" y="75"/>
                    <a:pt x="47" y="76"/>
                    <a:pt x="44" y="76"/>
                  </a:cubicBezTo>
                  <a:cubicBezTo>
                    <a:pt x="41" y="76"/>
                    <a:pt x="41" y="76"/>
                    <a:pt x="41" y="76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69" y="76"/>
                    <a:pt x="66" y="72"/>
                    <a:pt x="63" y="64"/>
                  </a:cubicBezTo>
                  <a:close/>
                  <a:moveTo>
                    <a:pt x="24" y="45"/>
                  </a:moveTo>
                  <a:cubicBezTo>
                    <a:pt x="33" y="15"/>
                    <a:pt x="33" y="15"/>
                    <a:pt x="33" y="15"/>
                  </a:cubicBezTo>
                  <a:cubicBezTo>
                    <a:pt x="42" y="45"/>
                    <a:pt x="42" y="45"/>
                    <a:pt x="42" y="45"/>
                  </a:cubicBezTo>
                  <a:lnTo>
                    <a:pt x="24" y="4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44" name="isľïḑè"/>
            <p:cNvSpPr/>
            <p:nvPr/>
          </p:nvSpPr>
          <p:spPr bwMode="auto">
            <a:xfrm>
              <a:off x="5475288" y="3919538"/>
              <a:ext cx="206375" cy="214313"/>
            </a:xfrm>
            <a:custGeom>
              <a:avLst/>
              <a:gdLst>
                <a:gd name="T0" fmla="*/ 51 w 77"/>
                <a:gd name="T1" fmla="*/ 5 h 80"/>
                <a:gd name="T2" fmla="*/ 53 w 77"/>
                <a:gd name="T3" fmla="*/ 5 h 80"/>
                <a:gd name="T4" fmla="*/ 61 w 77"/>
                <a:gd name="T5" fmla="*/ 18 h 80"/>
                <a:gd name="T6" fmla="*/ 61 w 77"/>
                <a:gd name="T7" fmla="*/ 48 h 80"/>
                <a:gd name="T8" fmla="*/ 41 w 77"/>
                <a:gd name="T9" fmla="*/ 72 h 80"/>
                <a:gd name="T10" fmla="*/ 23 w 77"/>
                <a:gd name="T11" fmla="*/ 51 h 80"/>
                <a:gd name="T12" fmla="*/ 23 w 77"/>
                <a:gd name="T13" fmla="*/ 14 h 80"/>
                <a:gd name="T14" fmla="*/ 30 w 77"/>
                <a:gd name="T15" fmla="*/ 5 h 80"/>
                <a:gd name="T16" fmla="*/ 31 w 77"/>
                <a:gd name="T17" fmla="*/ 5 h 80"/>
                <a:gd name="T18" fmla="*/ 31 w 77"/>
                <a:gd name="T19" fmla="*/ 0 h 80"/>
                <a:gd name="T20" fmla="*/ 0 w 77"/>
                <a:gd name="T21" fmla="*/ 0 h 80"/>
                <a:gd name="T22" fmla="*/ 0 w 77"/>
                <a:gd name="T23" fmla="*/ 5 h 80"/>
                <a:gd name="T24" fmla="*/ 2 w 77"/>
                <a:gd name="T25" fmla="*/ 5 h 80"/>
                <a:gd name="T26" fmla="*/ 9 w 77"/>
                <a:gd name="T27" fmla="*/ 14 h 80"/>
                <a:gd name="T28" fmla="*/ 9 w 77"/>
                <a:gd name="T29" fmla="*/ 51 h 80"/>
                <a:gd name="T30" fmla="*/ 39 w 77"/>
                <a:gd name="T31" fmla="*/ 80 h 80"/>
                <a:gd name="T32" fmla="*/ 67 w 77"/>
                <a:gd name="T33" fmla="*/ 47 h 80"/>
                <a:gd name="T34" fmla="*/ 67 w 77"/>
                <a:gd name="T35" fmla="*/ 16 h 80"/>
                <a:gd name="T36" fmla="*/ 76 w 77"/>
                <a:gd name="T37" fmla="*/ 5 h 80"/>
                <a:gd name="T38" fmla="*/ 77 w 77"/>
                <a:gd name="T39" fmla="*/ 5 h 80"/>
                <a:gd name="T40" fmla="*/ 77 w 77"/>
                <a:gd name="T41" fmla="*/ 0 h 80"/>
                <a:gd name="T42" fmla="*/ 51 w 77"/>
                <a:gd name="T43" fmla="*/ 0 h 80"/>
                <a:gd name="T44" fmla="*/ 51 w 77"/>
                <a:gd name="T45" fmla="*/ 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7" h="80">
                  <a:moveTo>
                    <a:pt x="51" y="5"/>
                  </a:moveTo>
                  <a:cubicBezTo>
                    <a:pt x="53" y="5"/>
                    <a:pt x="53" y="5"/>
                    <a:pt x="53" y="5"/>
                  </a:cubicBezTo>
                  <a:cubicBezTo>
                    <a:pt x="58" y="5"/>
                    <a:pt x="61" y="9"/>
                    <a:pt x="61" y="18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64"/>
                    <a:pt x="54" y="71"/>
                    <a:pt x="41" y="72"/>
                  </a:cubicBezTo>
                  <a:cubicBezTo>
                    <a:pt x="29" y="71"/>
                    <a:pt x="23" y="64"/>
                    <a:pt x="23" y="51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8"/>
                    <a:pt x="25" y="5"/>
                    <a:pt x="30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7" y="5"/>
                    <a:pt x="9" y="8"/>
                    <a:pt x="9" y="14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70"/>
                    <a:pt x="19" y="79"/>
                    <a:pt x="39" y="80"/>
                  </a:cubicBezTo>
                  <a:cubicBezTo>
                    <a:pt x="57" y="79"/>
                    <a:pt x="67" y="68"/>
                    <a:pt x="67" y="47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8"/>
                    <a:pt x="70" y="5"/>
                    <a:pt x="76" y="5"/>
                  </a:cubicBezTo>
                  <a:cubicBezTo>
                    <a:pt x="77" y="5"/>
                    <a:pt x="77" y="5"/>
                    <a:pt x="77" y="5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51" y="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45" name="ïṡļïḓé"/>
            <p:cNvSpPr/>
            <p:nvPr/>
          </p:nvSpPr>
          <p:spPr bwMode="auto">
            <a:xfrm>
              <a:off x="5707063" y="3919538"/>
              <a:ext cx="207963" cy="211138"/>
            </a:xfrm>
            <a:custGeom>
              <a:avLst/>
              <a:gdLst>
                <a:gd name="T0" fmla="*/ 52 w 78"/>
                <a:gd name="T1" fmla="*/ 5 h 79"/>
                <a:gd name="T2" fmla="*/ 53 w 78"/>
                <a:gd name="T3" fmla="*/ 5 h 79"/>
                <a:gd name="T4" fmla="*/ 61 w 78"/>
                <a:gd name="T5" fmla="*/ 7 h 79"/>
                <a:gd name="T6" fmla="*/ 63 w 78"/>
                <a:gd name="T7" fmla="*/ 16 h 79"/>
                <a:gd name="T8" fmla="*/ 63 w 78"/>
                <a:gd name="T9" fmla="*/ 54 h 79"/>
                <a:gd name="T10" fmla="*/ 21 w 78"/>
                <a:gd name="T11" fmla="*/ 0 h 79"/>
                <a:gd name="T12" fmla="*/ 0 w 78"/>
                <a:gd name="T13" fmla="*/ 0 h 79"/>
                <a:gd name="T14" fmla="*/ 0 w 78"/>
                <a:gd name="T15" fmla="*/ 5 h 79"/>
                <a:gd name="T16" fmla="*/ 8 w 78"/>
                <a:gd name="T17" fmla="*/ 8 h 79"/>
                <a:gd name="T18" fmla="*/ 8 w 78"/>
                <a:gd name="T19" fmla="*/ 66 h 79"/>
                <a:gd name="T20" fmla="*/ 1 w 78"/>
                <a:gd name="T21" fmla="*/ 74 h 79"/>
                <a:gd name="T22" fmla="*/ 0 w 78"/>
                <a:gd name="T23" fmla="*/ 74 h 79"/>
                <a:gd name="T24" fmla="*/ 0 w 78"/>
                <a:gd name="T25" fmla="*/ 79 h 79"/>
                <a:gd name="T26" fmla="*/ 24 w 78"/>
                <a:gd name="T27" fmla="*/ 79 h 79"/>
                <a:gd name="T28" fmla="*/ 24 w 78"/>
                <a:gd name="T29" fmla="*/ 74 h 79"/>
                <a:gd name="T30" fmla="*/ 14 w 78"/>
                <a:gd name="T31" fmla="*/ 63 h 79"/>
                <a:gd name="T32" fmla="*/ 14 w 78"/>
                <a:gd name="T33" fmla="*/ 16 h 79"/>
                <a:gd name="T34" fmla="*/ 63 w 78"/>
                <a:gd name="T35" fmla="*/ 79 h 79"/>
                <a:gd name="T36" fmla="*/ 68 w 78"/>
                <a:gd name="T37" fmla="*/ 79 h 79"/>
                <a:gd name="T38" fmla="*/ 68 w 78"/>
                <a:gd name="T39" fmla="*/ 12 h 79"/>
                <a:gd name="T40" fmla="*/ 77 w 78"/>
                <a:gd name="T41" fmla="*/ 5 h 79"/>
                <a:gd name="T42" fmla="*/ 78 w 78"/>
                <a:gd name="T43" fmla="*/ 5 h 79"/>
                <a:gd name="T44" fmla="*/ 78 w 78"/>
                <a:gd name="T45" fmla="*/ 0 h 79"/>
                <a:gd name="T46" fmla="*/ 52 w 78"/>
                <a:gd name="T47" fmla="*/ 0 h 79"/>
                <a:gd name="T48" fmla="*/ 52 w 78"/>
                <a:gd name="T49" fmla="*/ 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8" h="79">
                  <a:moveTo>
                    <a:pt x="52" y="5"/>
                  </a:moveTo>
                  <a:cubicBezTo>
                    <a:pt x="53" y="5"/>
                    <a:pt x="53" y="5"/>
                    <a:pt x="53" y="5"/>
                  </a:cubicBezTo>
                  <a:cubicBezTo>
                    <a:pt x="57" y="5"/>
                    <a:pt x="60" y="6"/>
                    <a:pt x="61" y="7"/>
                  </a:cubicBezTo>
                  <a:cubicBezTo>
                    <a:pt x="62" y="8"/>
                    <a:pt x="63" y="11"/>
                    <a:pt x="63" y="16"/>
                  </a:cubicBezTo>
                  <a:cubicBezTo>
                    <a:pt x="63" y="54"/>
                    <a:pt x="63" y="54"/>
                    <a:pt x="63" y="5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" y="5"/>
                    <a:pt x="6" y="6"/>
                    <a:pt x="8" y="8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71"/>
                    <a:pt x="6" y="74"/>
                    <a:pt x="1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17" y="74"/>
                    <a:pt x="14" y="71"/>
                    <a:pt x="14" y="63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8" y="79"/>
                    <a:pt x="68" y="79"/>
                    <a:pt x="68" y="79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7"/>
                    <a:pt x="71" y="5"/>
                    <a:pt x="77" y="5"/>
                  </a:cubicBezTo>
                  <a:cubicBezTo>
                    <a:pt x="78" y="5"/>
                    <a:pt x="78" y="5"/>
                    <a:pt x="78" y="5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52" y="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46" name="í$ḻiḋe"/>
            <p:cNvSpPr/>
            <p:nvPr/>
          </p:nvSpPr>
          <p:spPr bwMode="auto">
            <a:xfrm>
              <a:off x="5943600" y="3919538"/>
              <a:ext cx="85725" cy="211138"/>
            </a:xfrm>
            <a:custGeom>
              <a:avLst/>
              <a:gdLst>
                <a:gd name="T0" fmla="*/ 0 w 32"/>
                <a:gd name="T1" fmla="*/ 5 h 79"/>
                <a:gd name="T2" fmla="*/ 1 w 32"/>
                <a:gd name="T3" fmla="*/ 5 h 79"/>
                <a:gd name="T4" fmla="*/ 9 w 32"/>
                <a:gd name="T5" fmla="*/ 15 h 79"/>
                <a:gd name="T6" fmla="*/ 9 w 32"/>
                <a:gd name="T7" fmla="*/ 65 h 79"/>
                <a:gd name="T8" fmla="*/ 1 w 32"/>
                <a:gd name="T9" fmla="*/ 74 h 79"/>
                <a:gd name="T10" fmla="*/ 0 w 32"/>
                <a:gd name="T11" fmla="*/ 74 h 79"/>
                <a:gd name="T12" fmla="*/ 0 w 32"/>
                <a:gd name="T13" fmla="*/ 79 h 79"/>
                <a:gd name="T14" fmla="*/ 32 w 32"/>
                <a:gd name="T15" fmla="*/ 79 h 79"/>
                <a:gd name="T16" fmla="*/ 32 w 32"/>
                <a:gd name="T17" fmla="*/ 74 h 79"/>
                <a:gd name="T18" fmla="*/ 31 w 32"/>
                <a:gd name="T19" fmla="*/ 74 h 79"/>
                <a:gd name="T20" fmla="*/ 23 w 32"/>
                <a:gd name="T21" fmla="*/ 64 h 79"/>
                <a:gd name="T22" fmla="*/ 23 w 32"/>
                <a:gd name="T23" fmla="*/ 15 h 79"/>
                <a:gd name="T24" fmla="*/ 31 w 32"/>
                <a:gd name="T25" fmla="*/ 5 h 79"/>
                <a:gd name="T26" fmla="*/ 32 w 32"/>
                <a:gd name="T27" fmla="*/ 5 h 79"/>
                <a:gd name="T28" fmla="*/ 32 w 32"/>
                <a:gd name="T29" fmla="*/ 0 h 79"/>
                <a:gd name="T30" fmla="*/ 0 w 32"/>
                <a:gd name="T31" fmla="*/ 0 h 79"/>
                <a:gd name="T32" fmla="*/ 0 w 32"/>
                <a:gd name="T33" fmla="*/ 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0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7" y="5"/>
                    <a:pt x="9" y="8"/>
                    <a:pt x="9" y="15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9" y="71"/>
                    <a:pt x="7" y="74"/>
                    <a:pt x="1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25" y="74"/>
                    <a:pt x="23" y="71"/>
                    <a:pt x="23" y="64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8"/>
                    <a:pt x="25" y="5"/>
                    <a:pt x="31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47" name="íṥļíḋè"/>
            <p:cNvSpPr/>
            <p:nvPr/>
          </p:nvSpPr>
          <p:spPr bwMode="auto">
            <a:xfrm>
              <a:off x="6056313" y="3919538"/>
              <a:ext cx="200025" cy="214313"/>
            </a:xfrm>
            <a:custGeom>
              <a:avLst/>
              <a:gdLst>
                <a:gd name="T0" fmla="*/ 49 w 75"/>
                <a:gd name="T1" fmla="*/ 5 h 80"/>
                <a:gd name="T2" fmla="*/ 52 w 75"/>
                <a:gd name="T3" fmla="*/ 5 h 80"/>
                <a:gd name="T4" fmla="*/ 58 w 75"/>
                <a:gd name="T5" fmla="*/ 12 h 80"/>
                <a:gd name="T6" fmla="*/ 42 w 75"/>
                <a:gd name="T7" fmla="*/ 58 h 80"/>
                <a:gd name="T8" fmla="*/ 27 w 75"/>
                <a:gd name="T9" fmla="*/ 16 h 80"/>
                <a:gd name="T10" fmla="*/ 26 w 75"/>
                <a:gd name="T11" fmla="*/ 8 h 80"/>
                <a:gd name="T12" fmla="*/ 34 w 75"/>
                <a:gd name="T13" fmla="*/ 5 h 80"/>
                <a:gd name="T14" fmla="*/ 35 w 75"/>
                <a:gd name="T15" fmla="*/ 5 h 80"/>
                <a:gd name="T16" fmla="*/ 35 w 75"/>
                <a:gd name="T17" fmla="*/ 0 h 80"/>
                <a:gd name="T18" fmla="*/ 0 w 75"/>
                <a:gd name="T19" fmla="*/ 0 h 80"/>
                <a:gd name="T20" fmla="*/ 0 w 75"/>
                <a:gd name="T21" fmla="*/ 5 h 80"/>
                <a:gd name="T22" fmla="*/ 1 w 75"/>
                <a:gd name="T23" fmla="*/ 5 h 80"/>
                <a:gd name="T24" fmla="*/ 7 w 75"/>
                <a:gd name="T25" fmla="*/ 7 h 80"/>
                <a:gd name="T26" fmla="*/ 11 w 75"/>
                <a:gd name="T27" fmla="*/ 16 h 80"/>
                <a:gd name="T28" fmla="*/ 35 w 75"/>
                <a:gd name="T29" fmla="*/ 80 h 80"/>
                <a:gd name="T30" fmla="*/ 42 w 75"/>
                <a:gd name="T31" fmla="*/ 80 h 80"/>
                <a:gd name="T32" fmla="*/ 63 w 75"/>
                <a:gd name="T33" fmla="*/ 18 h 80"/>
                <a:gd name="T34" fmla="*/ 75 w 75"/>
                <a:gd name="T35" fmla="*/ 5 h 80"/>
                <a:gd name="T36" fmla="*/ 75 w 75"/>
                <a:gd name="T37" fmla="*/ 5 h 80"/>
                <a:gd name="T38" fmla="*/ 75 w 75"/>
                <a:gd name="T39" fmla="*/ 0 h 80"/>
                <a:gd name="T40" fmla="*/ 49 w 75"/>
                <a:gd name="T41" fmla="*/ 0 h 80"/>
                <a:gd name="T42" fmla="*/ 49 w 75"/>
                <a:gd name="T43" fmla="*/ 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0">
                  <a:moveTo>
                    <a:pt x="49" y="5"/>
                  </a:moveTo>
                  <a:cubicBezTo>
                    <a:pt x="52" y="5"/>
                    <a:pt x="52" y="5"/>
                    <a:pt x="52" y="5"/>
                  </a:cubicBezTo>
                  <a:cubicBezTo>
                    <a:pt x="57" y="6"/>
                    <a:pt x="59" y="8"/>
                    <a:pt x="58" y="12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5" y="12"/>
                    <a:pt x="25" y="9"/>
                    <a:pt x="26" y="8"/>
                  </a:cubicBezTo>
                  <a:cubicBezTo>
                    <a:pt x="27" y="6"/>
                    <a:pt x="29" y="5"/>
                    <a:pt x="34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4" y="5"/>
                    <a:pt x="6" y="6"/>
                    <a:pt x="7" y="7"/>
                  </a:cubicBezTo>
                  <a:cubicBezTo>
                    <a:pt x="8" y="8"/>
                    <a:pt x="10" y="11"/>
                    <a:pt x="11" y="16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6" y="9"/>
                    <a:pt x="70" y="5"/>
                    <a:pt x="75" y="5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49" y="0"/>
                    <a:pt x="49" y="0"/>
                    <a:pt x="49" y="0"/>
                  </a:cubicBezTo>
                  <a:lnTo>
                    <a:pt x="49" y="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48" name="îṡ1iḋé"/>
            <p:cNvSpPr/>
            <p:nvPr/>
          </p:nvSpPr>
          <p:spPr bwMode="auto">
            <a:xfrm>
              <a:off x="6276975" y="3919538"/>
              <a:ext cx="165100" cy="211138"/>
            </a:xfrm>
            <a:custGeom>
              <a:avLst/>
              <a:gdLst>
                <a:gd name="T0" fmla="*/ 46 w 62"/>
                <a:gd name="T1" fmla="*/ 72 h 79"/>
                <a:gd name="T2" fmla="*/ 29 w 62"/>
                <a:gd name="T3" fmla="*/ 72 h 79"/>
                <a:gd name="T4" fmla="*/ 25 w 62"/>
                <a:gd name="T5" fmla="*/ 65 h 79"/>
                <a:gd name="T6" fmla="*/ 25 w 62"/>
                <a:gd name="T7" fmla="*/ 43 h 79"/>
                <a:gd name="T8" fmla="*/ 40 w 62"/>
                <a:gd name="T9" fmla="*/ 43 h 79"/>
                <a:gd name="T10" fmla="*/ 50 w 62"/>
                <a:gd name="T11" fmla="*/ 51 h 79"/>
                <a:gd name="T12" fmla="*/ 54 w 62"/>
                <a:gd name="T13" fmla="*/ 51 h 79"/>
                <a:gd name="T14" fmla="*/ 54 w 62"/>
                <a:gd name="T15" fmla="*/ 26 h 79"/>
                <a:gd name="T16" fmla="*/ 50 w 62"/>
                <a:gd name="T17" fmla="*/ 26 h 79"/>
                <a:gd name="T18" fmla="*/ 42 w 62"/>
                <a:gd name="T19" fmla="*/ 35 h 79"/>
                <a:gd name="T20" fmla="*/ 25 w 62"/>
                <a:gd name="T21" fmla="*/ 35 h 79"/>
                <a:gd name="T22" fmla="*/ 25 w 62"/>
                <a:gd name="T23" fmla="*/ 7 h 79"/>
                <a:gd name="T24" fmla="*/ 48 w 62"/>
                <a:gd name="T25" fmla="*/ 7 h 79"/>
                <a:gd name="T26" fmla="*/ 55 w 62"/>
                <a:gd name="T27" fmla="*/ 18 h 79"/>
                <a:gd name="T28" fmla="*/ 59 w 62"/>
                <a:gd name="T29" fmla="*/ 18 h 79"/>
                <a:gd name="T30" fmla="*/ 58 w 62"/>
                <a:gd name="T31" fmla="*/ 0 h 79"/>
                <a:gd name="T32" fmla="*/ 2 w 62"/>
                <a:gd name="T33" fmla="*/ 0 h 79"/>
                <a:gd name="T34" fmla="*/ 2 w 62"/>
                <a:gd name="T35" fmla="*/ 5 h 79"/>
                <a:gd name="T36" fmla="*/ 3 w 62"/>
                <a:gd name="T37" fmla="*/ 5 h 79"/>
                <a:gd name="T38" fmla="*/ 11 w 62"/>
                <a:gd name="T39" fmla="*/ 14 h 79"/>
                <a:gd name="T40" fmla="*/ 11 w 62"/>
                <a:gd name="T41" fmla="*/ 65 h 79"/>
                <a:gd name="T42" fmla="*/ 4 w 62"/>
                <a:gd name="T43" fmla="*/ 74 h 79"/>
                <a:gd name="T44" fmla="*/ 0 w 62"/>
                <a:gd name="T45" fmla="*/ 74 h 79"/>
                <a:gd name="T46" fmla="*/ 0 w 62"/>
                <a:gd name="T47" fmla="*/ 79 h 79"/>
                <a:gd name="T48" fmla="*/ 61 w 62"/>
                <a:gd name="T49" fmla="*/ 79 h 79"/>
                <a:gd name="T50" fmla="*/ 62 w 62"/>
                <a:gd name="T51" fmla="*/ 59 h 79"/>
                <a:gd name="T52" fmla="*/ 58 w 62"/>
                <a:gd name="T53" fmla="*/ 59 h 79"/>
                <a:gd name="T54" fmla="*/ 46 w 62"/>
                <a:gd name="T55" fmla="*/ 7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2" h="79">
                  <a:moveTo>
                    <a:pt x="46" y="72"/>
                  </a:moveTo>
                  <a:cubicBezTo>
                    <a:pt x="29" y="72"/>
                    <a:pt x="29" y="72"/>
                    <a:pt x="29" y="72"/>
                  </a:cubicBezTo>
                  <a:cubicBezTo>
                    <a:pt x="26" y="72"/>
                    <a:pt x="25" y="70"/>
                    <a:pt x="25" y="65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47" y="42"/>
                    <a:pt x="50" y="45"/>
                    <a:pt x="50" y="51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33"/>
                    <a:pt x="47" y="36"/>
                    <a:pt x="42" y="35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52" y="7"/>
                    <a:pt x="54" y="10"/>
                    <a:pt x="55" y="18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9" y="5"/>
                    <a:pt x="12" y="8"/>
                    <a:pt x="11" y="14"/>
                  </a:cubicBezTo>
                  <a:cubicBezTo>
                    <a:pt x="11" y="65"/>
                    <a:pt x="11" y="65"/>
                    <a:pt x="11" y="65"/>
                  </a:cubicBezTo>
                  <a:cubicBezTo>
                    <a:pt x="12" y="71"/>
                    <a:pt x="9" y="74"/>
                    <a:pt x="4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57" y="68"/>
                    <a:pt x="53" y="72"/>
                    <a:pt x="46" y="72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49" name="ïṩ1iďe"/>
            <p:cNvSpPr/>
            <p:nvPr/>
          </p:nvSpPr>
          <p:spPr bwMode="auto">
            <a:xfrm>
              <a:off x="6470650" y="3914775"/>
              <a:ext cx="211138" cy="215900"/>
            </a:xfrm>
            <a:custGeom>
              <a:avLst/>
              <a:gdLst>
                <a:gd name="T0" fmla="*/ 65 w 79"/>
                <a:gd name="T1" fmla="*/ 69 h 81"/>
                <a:gd name="T2" fmla="*/ 57 w 79"/>
                <a:gd name="T3" fmla="*/ 57 h 81"/>
                <a:gd name="T4" fmla="*/ 48 w 79"/>
                <a:gd name="T5" fmla="*/ 44 h 81"/>
                <a:gd name="T6" fmla="*/ 63 w 79"/>
                <a:gd name="T7" fmla="*/ 23 h 81"/>
                <a:gd name="T8" fmla="*/ 58 w 79"/>
                <a:gd name="T9" fmla="*/ 9 h 81"/>
                <a:gd name="T10" fmla="*/ 30 w 79"/>
                <a:gd name="T11" fmla="*/ 0 h 81"/>
                <a:gd name="T12" fmla="*/ 13 w 79"/>
                <a:gd name="T13" fmla="*/ 1 h 81"/>
                <a:gd name="T14" fmla="*/ 3 w 79"/>
                <a:gd name="T15" fmla="*/ 2 h 81"/>
                <a:gd name="T16" fmla="*/ 0 w 79"/>
                <a:gd name="T17" fmla="*/ 2 h 81"/>
                <a:gd name="T18" fmla="*/ 0 w 79"/>
                <a:gd name="T19" fmla="*/ 7 h 81"/>
                <a:gd name="T20" fmla="*/ 2 w 79"/>
                <a:gd name="T21" fmla="*/ 7 h 81"/>
                <a:gd name="T22" fmla="*/ 10 w 79"/>
                <a:gd name="T23" fmla="*/ 17 h 81"/>
                <a:gd name="T24" fmla="*/ 10 w 79"/>
                <a:gd name="T25" fmla="*/ 66 h 81"/>
                <a:gd name="T26" fmla="*/ 2 w 79"/>
                <a:gd name="T27" fmla="*/ 76 h 81"/>
                <a:gd name="T28" fmla="*/ 0 w 79"/>
                <a:gd name="T29" fmla="*/ 76 h 81"/>
                <a:gd name="T30" fmla="*/ 0 w 79"/>
                <a:gd name="T31" fmla="*/ 81 h 81"/>
                <a:gd name="T32" fmla="*/ 35 w 79"/>
                <a:gd name="T33" fmla="*/ 81 h 81"/>
                <a:gd name="T34" fmla="*/ 35 w 79"/>
                <a:gd name="T35" fmla="*/ 76 h 81"/>
                <a:gd name="T36" fmla="*/ 32 w 79"/>
                <a:gd name="T37" fmla="*/ 76 h 81"/>
                <a:gd name="T38" fmla="*/ 24 w 79"/>
                <a:gd name="T39" fmla="*/ 66 h 81"/>
                <a:gd name="T40" fmla="*/ 24 w 79"/>
                <a:gd name="T41" fmla="*/ 47 h 81"/>
                <a:gd name="T42" fmla="*/ 32 w 79"/>
                <a:gd name="T43" fmla="*/ 47 h 81"/>
                <a:gd name="T44" fmla="*/ 43 w 79"/>
                <a:gd name="T45" fmla="*/ 63 h 81"/>
                <a:gd name="T46" fmla="*/ 50 w 79"/>
                <a:gd name="T47" fmla="*/ 74 h 81"/>
                <a:gd name="T48" fmla="*/ 58 w 79"/>
                <a:gd name="T49" fmla="*/ 80 h 81"/>
                <a:gd name="T50" fmla="*/ 72 w 79"/>
                <a:gd name="T51" fmla="*/ 81 h 81"/>
                <a:gd name="T52" fmla="*/ 79 w 79"/>
                <a:gd name="T53" fmla="*/ 81 h 81"/>
                <a:gd name="T54" fmla="*/ 79 w 79"/>
                <a:gd name="T55" fmla="*/ 77 h 81"/>
                <a:gd name="T56" fmla="*/ 65 w 79"/>
                <a:gd name="T57" fmla="*/ 69 h 81"/>
                <a:gd name="T58" fmla="*/ 28 w 79"/>
                <a:gd name="T59" fmla="*/ 42 h 81"/>
                <a:gd name="T60" fmla="*/ 24 w 79"/>
                <a:gd name="T61" fmla="*/ 42 h 81"/>
                <a:gd name="T62" fmla="*/ 24 w 79"/>
                <a:gd name="T63" fmla="*/ 6 h 81"/>
                <a:gd name="T64" fmla="*/ 30 w 79"/>
                <a:gd name="T65" fmla="*/ 6 h 81"/>
                <a:gd name="T66" fmla="*/ 48 w 79"/>
                <a:gd name="T67" fmla="*/ 24 h 81"/>
                <a:gd name="T68" fmla="*/ 28 w 79"/>
                <a:gd name="T69" fmla="*/ 4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9" h="81">
                  <a:moveTo>
                    <a:pt x="65" y="69"/>
                  </a:moveTo>
                  <a:cubicBezTo>
                    <a:pt x="63" y="67"/>
                    <a:pt x="60" y="62"/>
                    <a:pt x="57" y="57"/>
                  </a:cubicBezTo>
                  <a:cubicBezTo>
                    <a:pt x="53" y="51"/>
                    <a:pt x="50" y="46"/>
                    <a:pt x="48" y="44"/>
                  </a:cubicBezTo>
                  <a:cubicBezTo>
                    <a:pt x="58" y="40"/>
                    <a:pt x="63" y="34"/>
                    <a:pt x="63" y="23"/>
                  </a:cubicBezTo>
                  <a:cubicBezTo>
                    <a:pt x="63" y="18"/>
                    <a:pt x="61" y="13"/>
                    <a:pt x="58" y="9"/>
                  </a:cubicBezTo>
                  <a:cubicBezTo>
                    <a:pt x="54" y="3"/>
                    <a:pt x="44" y="0"/>
                    <a:pt x="30" y="0"/>
                  </a:cubicBezTo>
                  <a:cubicBezTo>
                    <a:pt x="26" y="0"/>
                    <a:pt x="21" y="1"/>
                    <a:pt x="13" y="1"/>
                  </a:cubicBezTo>
                  <a:cubicBezTo>
                    <a:pt x="11" y="1"/>
                    <a:pt x="8" y="1"/>
                    <a:pt x="3" y="2"/>
                  </a:cubicBezTo>
                  <a:cubicBezTo>
                    <a:pt x="2" y="2"/>
                    <a:pt x="1" y="2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8" y="7"/>
                    <a:pt x="11" y="10"/>
                    <a:pt x="10" y="17"/>
                  </a:cubicBezTo>
                  <a:cubicBezTo>
                    <a:pt x="10" y="66"/>
                    <a:pt x="10" y="66"/>
                    <a:pt x="10" y="66"/>
                  </a:cubicBezTo>
                  <a:cubicBezTo>
                    <a:pt x="11" y="73"/>
                    <a:pt x="8" y="76"/>
                    <a:pt x="2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5" y="81"/>
                    <a:pt x="35" y="81"/>
                    <a:pt x="35" y="81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27" y="76"/>
                    <a:pt x="24" y="72"/>
                    <a:pt x="24" y="66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5" y="50"/>
                    <a:pt x="39" y="55"/>
                    <a:pt x="43" y="63"/>
                  </a:cubicBezTo>
                  <a:cubicBezTo>
                    <a:pt x="47" y="68"/>
                    <a:pt x="49" y="72"/>
                    <a:pt x="50" y="74"/>
                  </a:cubicBezTo>
                  <a:cubicBezTo>
                    <a:pt x="53" y="77"/>
                    <a:pt x="55" y="79"/>
                    <a:pt x="58" y="80"/>
                  </a:cubicBezTo>
                  <a:cubicBezTo>
                    <a:pt x="62" y="81"/>
                    <a:pt x="66" y="81"/>
                    <a:pt x="72" y="81"/>
                  </a:cubicBezTo>
                  <a:cubicBezTo>
                    <a:pt x="75" y="81"/>
                    <a:pt x="77" y="81"/>
                    <a:pt x="79" y="81"/>
                  </a:cubicBezTo>
                  <a:cubicBezTo>
                    <a:pt x="79" y="77"/>
                    <a:pt x="79" y="77"/>
                    <a:pt x="79" y="77"/>
                  </a:cubicBezTo>
                  <a:cubicBezTo>
                    <a:pt x="73" y="77"/>
                    <a:pt x="69" y="74"/>
                    <a:pt x="65" y="69"/>
                  </a:cubicBezTo>
                  <a:close/>
                  <a:moveTo>
                    <a:pt x="28" y="42"/>
                  </a:moveTo>
                  <a:cubicBezTo>
                    <a:pt x="24" y="42"/>
                    <a:pt x="24" y="42"/>
                    <a:pt x="24" y="42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42" y="6"/>
                    <a:pt x="47" y="12"/>
                    <a:pt x="48" y="24"/>
                  </a:cubicBezTo>
                  <a:cubicBezTo>
                    <a:pt x="48" y="36"/>
                    <a:pt x="42" y="42"/>
                    <a:pt x="28" y="42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50" name="îṡļïḋe"/>
            <p:cNvSpPr/>
            <p:nvPr/>
          </p:nvSpPr>
          <p:spPr bwMode="auto">
            <a:xfrm>
              <a:off x="6710363" y="3914775"/>
              <a:ext cx="122238" cy="219075"/>
            </a:xfrm>
            <a:custGeom>
              <a:avLst/>
              <a:gdLst>
                <a:gd name="T0" fmla="*/ 25 w 46"/>
                <a:gd name="T1" fmla="*/ 29 h 82"/>
                <a:gd name="T2" fmla="*/ 12 w 46"/>
                <a:gd name="T3" fmla="*/ 15 h 82"/>
                <a:gd name="T4" fmla="*/ 22 w 46"/>
                <a:gd name="T5" fmla="*/ 6 h 82"/>
                <a:gd name="T6" fmla="*/ 39 w 46"/>
                <a:gd name="T7" fmla="*/ 22 h 82"/>
                <a:gd name="T8" fmla="*/ 43 w 46"/>
                <a:gd name="T9" fmla="*/ 22 h 82"/>
                <a:gd name="T10" fmla="*/ 41 w 46"/>
                <a:gd name="T11" fmla="*/ 2 h 82"/>
                <a:gd name="T12" fmla="*/ 39 w 46"/>
                <a:gd name="T13" fmla="*/ 2 h 82"/>
                <a:gd name="T14" fmla="*/ 38 w 46"/>
                <a:gd name="T15" fmla="*/ 3 h 82"/>
                <a:gd name="T16" fmla="*/ 36 w 46"/>
                <a:gd name="T17" fmla="*/ 4 h 82"/>
                <a:gd name="T18" fmla="*/ 34 w 46"/>
                <a:gd name="T19" fmla="*/ 3 h 82"/>
                <a:gd name="T20" fmla="*/ 21 w 46"/>
                <a:gd name="T21" fmla="*/ 0 h 82"/>
                <a:gd name="T22" fmla="*/ 0 w 46"/>
                <a:gd name="T23" fmla="*/ 21 h 82"/>
                <a:gd name="T24" fmla="*/ 18 w 46"/>
                <a:gd name="T25" fmla="*/ 46 h 82"/>
                <a:gd name="T26" fmla="*/ 33 w 46"/>
                <a:gd name="T27" fmla="*/ 64 h 82"/>
                <a:gd name="T28" fmla="*/ 21 w 46"/>
                <a:gd name="T29" fmla="*/ 76 h 82"/>
                <a:gd name="T30" fmla="*/ 4 w 46"/>
                <a:gd name="T31" fmla="*/ 57 h 82"/>
                <a:gd name="T32" fmla="*/ 0 w 46"/>
                <a:gd name="T33" fmla="*/ 57 h 82"/>
                <a:gd name="T34" fmla="*/ 2 w 46"/>
                <a:gd name="T35" fmla="*/ 80 h 82"/>
                <a:gd name="T36" fmla="*/ 5 w 46"/>
                <a:gd name="T37" fmla="*/ 80 h 82"/>
                <a:gd name="T38" fmla="*/ 7 w 46"/>
                <a:gd name="T39" fmla="*/ 78 h 82"/>
                <a:gd name="T40" fmla="*/ 11 w 46"/>
                <a:gd name="T41" fmla="*/ 79 h 82"/>
                <a:gd name="T42" fmla="*/ 25 w 46"/>
                <a:gd name="T43" fmla="*/ 82 h 82"/>
                <a:gd name="T44" fmla="*/ 46 w 46"/>
                <a:gd name="T45" fmla="*/ 59 h 82"/>
                <a:gd name="T46" fmla="*/ 40 w 46"/>
                <a:gd name="T47" fmla="*/ 42 h 82"/>
                <a:gd name="T48" fmla="*/ 25 w 46"/>
                <a:gd name="T49" fmla="*/ 2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6" h="82">
                  <a:moveTo>
                    <a:pt x="25" y="29"/>
                  </a:moveTo>
                  <a:cubicBezTo>
                    <a:pt x="16" y="24"/>
                    <a:pt x="12" y="19"/>
                    <a:pt x="12" y="15"/>
                  </a:cubicBezTo>
                  <a:cubicBezTo>
                    <a:pt x="13" y="9"/>
                    <a:pt x="16" y="6"/>
                    <a:pt x="22" y="6"/>
                  </a:cubicBezTo>
                  <a:cubicBezTo>
                    <a:pt x="30" y="6"/>
                    <a:pt x="36" y="12"/>
                    <a:pt x="39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7" y="4"/>
                    <a:pt x="36" y="4"/>
                  </a:cubicBezTo>
                  <a:cubicBezTo>
                    <a:pt x="36" y="4"/>
                    <a:pt x="35" y="3"/>
                    <a:pt x="34" y="3"/>
                  </a:cubicBezTo>
                  <a:cubicBezTo>
                    <a:pt x="29" y="1"/>
                    <a:pt x="25" y="0"/>
                    <a:pt x="21" y="0"/>
                  </a:cubicBezTo>
                  <a:cubicBezTo>
                    <a:pt x="8" y="1"/>
                    <a:pt x="1" y="8"/>
                    <a:pt x="0" y="21"/>
                  </a:cubicBezTo>
                  <a:cubicBezTo>
                    <a:pt x="2" y="33"/>
                    <a:pt x="8" y="41"/>
                    <a:pt x="18" y="46"/>
                  </a:cubicBezTo>
                  <a:cubicBezTo>
                    <a:pt x="27" y="50"/>
                    <a:pt x="32" y="56"/>
                    <a:pt x="33" y="64"/>
                  </a:cubicBezTo>
                  <a:cubicBezTo>
                    <a:pt x="32" y="72"/>
                    <a:pt x="28" y="76"/>
                    <a:pt x="21" y="76"/>
                  </a:cubicBezTo>
                  <a:cubicBezTo>
                    <a:pt x="13" y="76"/>
                    <a:pt x="7" y="70"/>
                    <a:pt x="4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6" y="79"/>
                    <a:pt x="6" y="78"/>
                    <a:pt x="7" y="78"/>
                  </a:cubicBezTo>
                  <a:cubicBezTo>
                    <a:pt x="8" y="78"/>
                    <a:pt x="9" y="78"/>
                    <a:pt x="11" y="79"/>
                  </a:cubicBezTo>
                  <a:cubicBezTo>
                    <a:pt x="16" y="81"/>
                    <a:pt x="21" y="82"/>
                    <a:pt x="25" y="82"/>
                  </a:cubicBezTo>
                  <a:cubicBezTo>
                    <a:pt x="38" y="81"/>
                    <a:pt x="45" y="73"/>
                    <a:pt x="46" y="59"/>
                  </a:cubicBezTo>
                  <a:cubicBezTo>
                    <a:pt x="46" y="53"/>
                    <a:pt x="44" y="47"/>
                    <a:pt x="40" y="42"/>
                  </a:cubicBezTo>
                  <a:cubicBezTo>
                    <a:pt x="37" y="38"/>
                    <a:pt x="32" y="34"/>
                    <a:pt x="25" y="29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51" name="ïSľiďé"/>
            <p:cNvSpPr/>
            <p:nvPr/>
          </p:nvSpPr>
          <p:spPr bwMode="auto">
            <a:xfrm>
              <a:off x="6870700" y="3919538"/>
              <a:ext cx="84138" cy="211138"/>
            </a:xfrm>
            <a:custGeom>
              <a:avLst/>
              <a:gdLst>
                <a:gd name="T0" fmla="*/ 0 w 32"/>
                <a:gd name="T1" fmla="*/ 5 h 79"/>
                <a:gd name="T2" fmla="*/ 1 w 32"/>
                <a:gd name="T3" fmla="*/ 5 h 79"/>
                <a:gd name="T4" fmla="*/ 9 w 32"/>
                <a:gd name="T5" fmla="*/ 15 h 79"/>
                <a:gd name="T6" fmla="*/ 9 w 32"/>
                <a:gd name="T7" fmla="*/ 65 h 79"/>
                <a:gd name="T8" fmla="*/ 1 w 32"/>
                <a:gd name="T9" fmla="*/ 74 h 79"/>
                <a:gd name="T10" fmla="*/ 0 w 32"/>
                <a:gd name="T11" fmla="*/ 74 h 79"/>
                <a:gd name="T12" fmla="*/ 0 w 32"/>
                <a:gd name="T13" fmla="*/ 79 h 79"/>
                <a:gd name="T14" fmla="*/ 32 w 32"/>
                <a:gd name="T15" fmla="*/ 79 h 79"/>
                <a:gd name="T16" fmla="*/ 32 w 32"/>
                <a:gd name="T17" fmla="*/ 74 h 79"/>
                <a:gd name="T18" fmla="*/ 31 w 32"/>
                <a:gd name="T19" fmla="*/ 74 h 79"/>
                <a:gd name="T20" fmla="*/ 23 w 32"/>
                <a:gd name="T21" fmla="*/ 64 h 79"/>
                <a:gd name="T22" fmla="*/ 23 w 32"/>
                <a:gd name="T23" fmla="*/ 15 h 79"/>
                <a:gd name="T24" fmla="*/ 31 w 32"/>
                <a:gd name="T25" fmla="*/ 5 h 79"/>
                <a:gd name="T26" fmla="*/ 32 w 32"/>
                <a:gd name="T27" fmla="*/ 5 h 79"/>
                <a:gd name="T28" fmla="*/ 32 w 32"/>
                <a:gd name="T29" fmla="*/ 0 h 79"/>
                <a:gd name="T30" fmla="*/ 0 w 32"/>
                <a:gd name="T31" fmla="*/ 0 h 79"/>
                <a:gd name="T32" fmla="*/ 0 w 32"/>
                <a:gd name="T33" fmla="*/ 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0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7" y="5"/>
                    <a:pt x="9" y="8"/>
                    <a:pt x="9" y="15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9" y="71"/>
                    <a:pt x="7" y="74"/>
                    <a:pt x="1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25" y="74"/>
                    <a:pt x="23" y="71"/>
                    <a:pt x="23" y="64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8"/>
                    <a:pt x="26" y="5"/>
                    <a:pt x="31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52" name="isliḓe"/>
            <p:cNvSpPr/>
            <p:nvPr/>
          </p:nvSpPr>
          <p:spPr bwMode="auto">
            <a:xfrm>
              <a:off x="6988175" y="3914775"/>
              <a:ext cx="182563" cy="215900"/>
            </a:xfrm>
            <a:custGeom>
              <a:avLst/>
              <a:gdLst>
                <a:gd name="T0" fmla="*/ 64 w 69"/>
                <a:gd name="T1" fmla="*/ 0 h 81"/>
                <a:gd name="T2" fmla="*/ 59 w 69"/>
                <a:gd name="T3" fmla="*/ 2 h 81"/>
                <a:gd name="T4" fmla="*/ 10 w 69"/>
                <a:gd name="T5" fmla="*/ 2 h 81"/>
                <a:gd name="T6" fmla="*/ 8 w 69"/>
                <a:gd name="T7" fmla="*/ 2 h 81"/>
                <a:gd name="T8" fmla="*/ 6 w 69"/>
                <a:gd name="T9" fmla="*/ 0 h 81"/>
                <a:gd name="T10" fmla="*/ 2 w 69"/>
                <a:gd name="T11" fmla="*/ 0 h 81"/>
                <a:gd name="T12" fmla="*/ 0 w 69"/>
                <a:gd name="T13" fmla="*/ 23 h 81"/>
                <a:gd name="T14" fmla="*/ 5 w 69"/>
                <a:gd name="T15" fmla="*/ 23 h 81"/>
                <a:gd name="T16" fmla="*/ 8 w 69"/>
                <a:gd name="T17" fmla="*/ 11 h 81"/>
                <a:gd name="T18" fmla="*/ 16 w 69"/>
                <a:gd name="T19" fmla="*/ 9 h 81"/>
                <a:gd name="T20" fmla="*/ 28 w 69"/>
                <a:gd name="T21" fmla="*/ 9 h 81"/>
                <a:gd name="T22" fmla="*/ 28 w 69"/>
                <a:gd name="T23" fmla="*/ 66 h 81"/>
                <a:gd name="T24" fmla="*/ 20 w 69"/>
                <a:gd name="T25" fmla="*/ 76 h 81"/>
                <a:gd name="T26" fmla="*/ 16 w 69"/>
                <a:gd name="T27" fmla="*/ 76 h 81"/>
                <a:gd name="T28" fmla="*/ 16 w 69"/>
                <a:gd name="T29" fmla="*/ 81 h 81"/>
                <a:gd name="T30" fmla="*/ 53 w 69"/>
                <a:gd name="T31" fmla="*/ 81 h 81"/>
                <a:gd name="T32" fmla="*/ 53 w 69"/>
                <a:gd name="T33" fmla="*/ 76 h 81"/>
                <a:gd name="T34" fmla="*/ 50 w 69"/>
                <a:gd name="T35" fmla="*/ 76 h 81"/>
                <a:gd name="T36" fmla="*/ 42 w 69"/>
                <a:gd name="T37" fmla="*/ 66 h 81"/>
                <a:gd name="T38" fmla="*/ 42 w 69"/>
                <a:gd name="T39" fmla="*/ 9 h 81"/>
                <a:gd name="T40" fmla="*/ 54 w 69"/>
                <a:gd name="T41" fmla="*/ 9 h 81"/>
                <a:gd name="T42" fmla="*/ 62 w 69"/>
                <a:gd name="T43" fmla="*/ 11 h 81"/>
                <a:gd name="T44" fmla="*/ 65 w 69"/>
                <a:gd name="T45" fmla="*/ 23 h 81"/>
                <a:gd name="T46" fmla="*/ 69 w 69"/>
                <a:gd name="T47" fmla="*/ 23 h 81"/>
                <a:gd name="T48" fmla="*/ 67 w 69"/>
                <a:gd name="T49" fmla="*/ 0 h 81"/>
                <a:gd name="T50" fmla="*/ 64 w 69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9" h="81">
                  <a:moveTo>
                    <a:pt x="64" y="0"/>
                  </a:moveTo>
                  <a:cubicBezTo>
                    <a:pt x="63" y="2"/>
                    <a:pt x="61" y="3"/>
                    <a:pt x="59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8" y="2"/>
                    <a:pt x="8" y="2"/>
                  </a:cubicBezTo>
                  <a:cubicBezTo>
                    <a:pt x="7" y="1"/>
                    <a:pt x="6" y="1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6" y="17"/>
                    <a:pt x="7" y="12"/>
                    <a:pt x="8" y="11"/>
                  </a:cubicBezTo>
                  <a:cubicBezTo>
                    <a:pt x="9" y="9"/>
                    <a:pt x="12" y="9"/>
                    <a:pt x="16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72"/>
                    <a:pt x="25" y="76"/>
                    <a:pt x="20" y="76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44" y="76"/>
                    <a:pt x="41" y="73"/>
                    <a:pt x="42" y="66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8" y="9"/>
                    <a:pt x="61" y="9"/>
                    <a:pt x="62" y="11"/>
                  </a:cubicBezTo>
                  <a:cubicBezTo>
                    <a:pt x="63" y="12"/>
                    <a:pt x="64" y="17"/>
                    <a:pt x="65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7" y="0"/>
                    <a:pt x="67" y="0"/>
                    <a:pt x="67" y="0"/>
                  </a:cubicBezTo>
                  <a:lnTo>
                    <a:pt x="64" y="0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53" name="işḻide"/>
            <p:cNvSpPr/>
            <p:nvPr/>
          </p:nvSpPr>
          <p:spPr bwMode="auto">
            <a:xfrm>
              <a:off x="7197725" y="3919538"/>
              <a:ext cx="200025" cy="211138"/>
            </a:xfrm>
            <a:custGeom>
              <a:avLst/>
              <a:gdLst>
                <a:gd name="T0" fmla="*/ 51 w 75"/>
                <a:gd name="T1" fmla="*/ 5 h 79"/>
                <a:gd name="T2" fmla="*/ 52 w 75"/>
                <a:gd name="T3" fmla="*/ 5 h 79"/>
                <a:gd name="T4" fmla="*/ 57 w 75"/>
                <a:gd name="T5" fmla="*/ 8 h 79"/>
                <a:gd name="T6" fmla="*/ 56 w 75"/>
                <a:gd name="T7" fmla="*/ 15 h 79"/>
                <a:gd name="T8" fmla="*/ 44 w 75"/>
                <a:gd name="T9" fmla="*/ 38 h 79"/>
                <a:gd name="T10" fmla="*/ 28 w 75"/>
                <a:gd name="T11" fmla="*/ 12 h 79"/>
                <a:gd name="T12" fmla="*/ 27 w 75"/>
                <a:gd name="T13" fmla="*/ 7 h 79"/>
                <a:gd name="T14" fmla="*/ 32 w 75"/>
                <a:gd name="T15" fmla="*/ 5 h 79"/>
                <a:gd name="T16" fmla="*/ 33 w 75"/>
                <a:gd name="T17" fmla="*/ 5 h 79"/>
                <a:gd name="T18" fmla="*/ 33 w 75"/>
                <a:gd name="T19" fmla="*/ 0 h 79"/>
                <a:gd name="T20" fmla="*/ 0 w 75"/>
                <a:gd name="T21" fmla="*/ 0 h 79"/>
                <a:gd name="T22" fmla="*/ 0 w 75"/>
                <a:gd name="T23" fmla="*/ 5 h 79"/>
                <a:gd name="T24" fmla="*/ 1 w 75"/>
                <a:gd name="T25" fmla="*/ 5 h 79"/>
                <a:gd name="T26" fmla="*/ 6 w 75"/>
                <a:gd name="T27" fmla="*/ 6 h 79"/>
                <a:gd name="T28" fmla="*/ 10 w 75"/>
                <a:gd name="T29" fmla="*/ 11 h 79"/>
                <a:gd name="T30" fmla="*/ 32 w 75"/>
                <a:gd name="T31" fmla="*/ 47 h 79"/>
                <a:gd name="T32" fmla="*/ 32 w 75"/>
                <a:gd name="T33" fmla="*/ 65 h 79"/>
                <a:gd name="T34" fmla="*/ 24 w 75"/>
                <a:gd name="T35" fmla="*/ 74 h 79"/>
                <a:gd name="T36" fmla="*/ 22 w 75"/>
                <a:gd name="T37" fmla="*/ 74 h 79"/>
                <a:gd name="T38" fmla="*/ 22 w 75"/>
                <a:gd name="T39" fmla="*/ 79 h 79"/>
                <a:gd name="T40" fmla="*/ 57 w 75"/>
                <a:gd name="T41" fmla="*/ 79 h 79"/>
                <a:gd name="T42" fmla="*/ 57 w 75"/>
                <a:gd name="T43" fmla="*/ 74 h 79"/>
                <a:gd name="T44" fmla="*/ 55 w 75"/>
                <a:gd name="T45" fmla="*/ 74 h 79"/>
                <a:gd name="T46" fmla="*/ 46 w 75"/>
                <a:gd name="T47" fmla="*/ 64 h 79"/>
                <a:gd name="T48" fmla="*/ 46 w 75"/>
                <a:gd name="T49" fmla="*/ 47 h 79"/>
                <a:gd name="T50" fmla="*/ 63 w 75"/>
                <a:gd name="T51" fmla="*/ 14 h 79"/>
                <a:gd name="T52" fmla="*/ 68 w 75"/>
                <a:gd name="T53" fmla="*/ 7 h 79"/>
                <a:gd name="T54" fmla="*/ 75 w 75"/>
                <a:gd name="T55" fmla="*/ 5 h 79"/>
                <a:gd name="T56" fmla="*/ 75 w 75"/>
                <a:gd name="T57" fmla="*/ 0 h 79"/>
                <a:gd name="T58" fmla="*/ 51 w 75"/>
                <a:gd name="T59" fmla="*/ 0 h 79"/>
                <a:gd name="T60" fmla="*/ 51 w 75"/>
                <a:gd name="T61" fmla="*/ 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5" h="79">
                  <a:moveTo>
                    <a:pt x="51" y="5"/>
                  </a:moveTo>
                  <a:cubicBezTo>
                    <a:pt x="52" y="5"/>
                    <a:pt x="52" y="5"/>
                    <a:pt x="52" y="5"/>
                  </a:cubicBezTo>
                  <a:cubicBezTo>
                    <a:pt x="55" y="5"/>
                    <a:pt x="57" y="6"/>
                    <a:pt x="57" y="8"/>
                  </a:cubicBezTo>
                  <a:cubicBezTo>
                    <a:pt x="58" y="9"/>
                    <a:pt x="57" y="12"/>
                    <a:pt x="56" y="15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6" y="10"/>
                    <a:pt x="26" y="8"/>
                    <a:pt x="27" y="7"/>
                  </a:cubicBezTo>
                  <a:cubicBezTo>
                    <a:pt x="28" y="6"/>
                    <a:pt x="29" y="5"/>
                    <a:pt x="32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4" y="5"/>
                    <a:pt x="5" y="6"/>
                    <a:pt x="6" y="6"/>
                  </a:cubicBezTo>
                  <a:cubicBezTo>
                    <a:pt x="8" y="7"/>
                    <a:pt x="9" y="8"/>
                    <a:pt x="10" y="11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32" y="71"/>
                    <a:pt x="30" y="74"/>
                    <a:pt x="24" y="74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22" y="79"/>
                    <a:pt x="22" y="79"/>
                    <a:pt x="22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49" y="74"/>
                    <a:pt x="46" y="71"/>
                    <a:pt x="46" y="64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63" y="14"/>
                    <a:pt x="63" y="14"/>
                    <a:pt x="63" y="14"/>
                  </a:cubicBezTo>
                  <a:cubicBezTo>
                    <a:pt x="65" y="10"/>
                    <a:pt x="67" y="8"/>
                    <a:pt x="68" y="7"/>
                  </a:cubicBezTo>
                  <a:cubicBezTo>
                    <a:pt x="70" y="6"/>
                    <a:pt x="72" y="6"/>
                    <a:pt x="75" y="5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51" y="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54" name="íṧlïďè"/>
            <p:cNvSpPr/>
            <p:nvPr/>
          </p:nvSpPr>
          <p:spPr bwMode="auto">
            <a:xfrm>
              <a:off x="7504113" y="3914775"/>
              <a:ext cx="198438" cy="219075"/>
            </a:xfrm>
            <a:custGeom>
              <a:avLst/>
              <a:gdLst>
                <a:gd name="T0" fmla="*/ 39 w 75"/>
                <a:gd name="T1" fmla="*/ 0 h 82"/>
                <a:gd name="T2" fmla="*/ 0 w 75"/>
                <a:gd name="T3" fmla="*/ 43 h 82"/>
                <a:gd name="T4" fmla="*/ 37 w 75"/>
                <a:gd name="T5" fmla="*/ 82 h 82"/>
                <a:gd name="T6" fmla="*/ 75 w 75"/>
                <a:gd name="T7" fmla="*/ 40 h 82"/>
                <a:gd name="T8" fmla="*/ 39 w 75"/>
                <a:gd name="T9" fmla="*/ 0 h 82"/>
                <a:gd name="T10" fmla="*/ 39 w 75"/>
                <a:gd name="T11" fmla="*/ 77 h 82"/>
                <a:gd name="T12" fmla="*/ 15 w 75"/>
                <a:gd name="T13" fmla="*/ 37 h 82"/>
                <a:gd name="T14" fmla="*/ 36 w 75"/>
                <a:gd name="T15" fmla="*/ 5 h 82"/>
                <a:gd name="T16" fmla="*/ 60 w 75"/>
                <a:gd name="T17" fmla="*/ 45 h 82"/>
                <a:gd name="T18" fmla="*/ 39 w 75"/>
                <a:gd name="T19" fmla="*/ 7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82">
                  <a:moveTo>
                    <a:pt x="39" y="0"/>
                  </a:moveTo>
                  <a:cubicBezTo>
                    <a:pt x="14" y="1"/>
                    <a:pt x="1" y="16"/>
                    <a:pt x="0" y="43"/>
                  </a:cubicBezTo>
                  <a:cubicBezTo>
                    <a:pt x="1" y="67"/>
                    <a:pt x="14" y="80"/>
                    <a:pt x="37" y="82"/>
                  </a:cubicBezTo>
                  <a:cubicBezTo>
                    <a:pt x="61" y="81"/>
                    <a:pt x="73" y="67"/>
                    <a:pt x="75" y="40"/>
                  </a:cubicBezTo>
                  <a:cubicBezTo>
                    <a:pt x="74" y="15"/>
                    <a:pt x="62" y="1"/>
                    <a:pt x="39" y="0"/>
                  </a:cubicBezTo>
                  <a:close/>
                  <a:moveTo>
                    <a:pt x="39" y="77"/>
                  </a:moveTo>
                  <a:cubicBezTo>
                    <a:pt x="24" y="75"/>
                    <a:pt x="15" y="62"/>
                    <a:pt x="15" y="37"/>
                  </a:cubicBezTo>
                  <a:cubicBezTo>
                    <a:pt x="15" y="17"/>
                    <a:pt x="23" y="6"/>
                    <a:pt x="36" y="5"/>
                  </a:cubicBezTo>
                  <a:cubicBezTo>
                    <a:pt x="51" y="7"/>
                    <a:pt x="59" y="20"/>
                    <a:pt x="60" y="45"/>
                  </a:cubicBezTo>
                  <a:cubicBezTo>
                    <a:pt x="59" y="66"/>
                    <a:pt x="52" y="76"/>
                    <a:pt x="39" y="77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55" name="îślîḍê"/>
            <p:cNvSpPr/>
            <p:nvPr/>
          </p:nvSpPr>
          <p:spPr bwMode="auto">
            <a:xfrm>
              <a:off x="7745413" y="3919538"/>
              <a:ext cx="136525" cy="211138"/>
            </a:xfrm>
            <a:custGeom>
              <a:avLst/>
              <a:gdLst>
                <a:gd name="T0" fmla="*/ 0 w 51"/>
                <a:gd name="T1" fmla="*/ 5 h 79"/>
                <a:gd name="T2" fmla="*/ 1 w 51"/>
                <a:gd name="T3" fmla="*/ 5 h 79"/>
                <a:gd name="T4" fmla="*/ 8 w 51"/>
                <a:gd name="T5" fmla="*/ 16 h 79"/>
                <a:gd name="T6" fmla="*/ 8 w 51"/>
                <a:gd name="T7" fmla="*/ 66 h 79"/>
                <a:gd name="T8" fmla="*/ 2 w 51"/>
                <a:gd name="T9" fmla="*/ 74 h 79"/>
                <a:gd name="T10" fmla="*/ 0 w 51"/>
                <a:gd name="T11" fmla="*/ 74 h 79"/>
                <a:gd name="T12" fmla="*/ 0 w 51"/>
                <a:gd name="T13" fmla="*/ 79 h 79"/>
                <a:gd name="T14" fmla="*/ 30 w 51"/>
                <a:gd name="T15" fmla="*/ 79 h 79"/>
                <a:gd name="T16" fmla="*/ 30 w 51"/>
                <a:gd name="T17" fmla="*/ 74 h 79"/>
                <a:gd name="T18" fmla="*/ 28 w 51"/>
                <a:gd name="T19" fmla="*/ 74 h 79"/>
                <a:gd name="T20" fmla="*/ 21 w 51"/>
                <a:gd name="T21" fmla="*/ 63 h 79"/>
                <a:gd name="T22" fmla="*/ 21 w 51"/>
                <a:gd name="T23" fmla="*/ 43 h 79"/>
                <a:gd name="T24" fmla="*/ 37 w 51"/>
                <a:gd name="T25" fmla="*/ 43 h 79"/>
                <a:gd name="T26" fmla="*/ 44 w 51"/>
                <a:gd name="T27" fmla="*/ 51 h 79"/>
                <a:gd name="T28" fmla="*/ 48 w 51"/>
                <a:gd name="T29" fmla="*/ 51 h 79"/>
                <a:gd name="T30" fmla="*/ 48 w 51"/>
                <a:gd name="T31" fmla="*/ 26 h 79"/>
                <a:gd name="T32" fmla="*/ 44 w 51"/>
                <a:gd name="T33" fmla="*/ 26 h 79"/>
                <a:gd name="T34" fmla="*/ 36 w 51"/>
                <a:gd name="T35" fmla="*/ 35 h 79"/>
                <a:gd name="T36" fmla="*/ 21 w 51"/>
                <a:gd name="T37" fmla="*/ 35 h 79"/>
                <a:gd name="T38" fmla="*/ 21 w 51"/>
                <a:gd name="T39" fmla="*/ 7 h 79"/>
                <a:gd name="T40" fmla="*/ 41 w 51"/>
                <a:gd name="T41" fmla="*/ 7 h 79"/>
                <a:gd name="T42" fmla="*/ 48 w 51"/>
                <a:gd name="T43" fmla="*/ 18 h 79"/>
                <a:gd name="T44" fmla="*/ 51 w 51"/>
                <a:gd name="T45" fmla="*/ 18 h 79"/>
                <a:gd name="T46" fmla="*/ 51 w 51"/>
                <a:gd name="T47" fmla="*/ 0 h 79"/>
                <a:gd name="T48" fmla="*/ 0 w 51"/>
                <a:gd name="T49" fmla="*/ 0 h 79"/>
                <a:gd name="T50" fmla="*/ 0 w 51"/>
                <a:gd name="T51" fmla="*/ 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" h="79">
                  <a:moveTo>
                    <a:pt x="0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6" y="4"/>
                    <a:pt x="8" y="8"/>
                    <a:pt x="8" y="16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71"/>
                    <a:pt x="6" y="74"/>
                    <a:pt x="2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30" y="79"/>
                    <a:pt x="30" y="79"/>
                    <a:pt x="30" y="79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3" y="74"/>
                    <a:pt x="21" y="71"/>
                    <a:pt x="21" y="6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42" y="42"/>
                    <a:pt x="45" y="45"/>
                    <a:pt x="44" y="51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5" y="33"/>
                    <a:pt x="42" y="36"/>
                    <a:pt x="36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6" y="7"/>
                    <a:pt x="48" y="10"/>
                    <a:pt x="48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56" name="íṡľíḍe"/>
            <p:cNvSpPr/>
            <p:nvPr/>
          </p:nvSpPr>
          <p:spPr bwMode="auto">
            <a:xfrm>
              <a:off x="7993063" y="3914775"/>
              <a:ext cx="160338" cy="215900"/>
            </a:xfrm>
            <a:custGeom>
              <a:avLst/>
              <a:gdLst>
                <a:gd name="T0" fmla="*/ 32 w 60"/>
                <a:gd name="T1" fmla="*/ 0 h 81"/>
                <a:gd name="T2" fmla="*/ 16 w 60"/>
                <a:gd name="T3" fmla="*/ 1 h 81"/>
                <a:gd name="T4" fmla="*/ 0 w 60"/>
                <a:gd name="T5" fmla="*/ 2 h 81"/>
                <a:gd name="T6" fmla="*/ 0 w 60"/>
                <a:gd name="T7" fmla="*/ 7 h 81"/>
                <a:gd name="T8" fmla="*/ 2 w 60"/>
                <a:gd name="T9" fmla="*/ 7 h 81"/>
                <a:gd name="T10" fmla="*/ 9 w 60"/>
                <a:gd name="T11" fmla="*/ 15 h 81"/>
                <a:gd name="T12" fmla="*/ 9 w 60"/>
                <a:gd name="T13" fmla="*/ 68 h 81"/>
                <a:gd name="T14" fmla="*/ 2 w 60"/>
                <a:gd name="T15" fmla="*/ 76 h 81"/>
                <a:gd name="T16" fmla="*/ 0 w 60"/>
                <a:gd name="T17" fmla="*/ 76 h 81"/>
                <a:gd name="T18" fmla="*/ 0 w 60"/>
                <a:gd name="T19" fmla="*/ 81 h 81"/>
                <a:gd name="T20" fmla="*/ 35 w 60"/>
                <a:gd name="T21" fmla="*/ 81 h 81"/>
                <a:gd name="T22" fmla="*/ 35 w 60"/>
                <a:gd name="T23" fmla="*/ 76 h 81"/>
                <a:gd name="T24" fmla="*/ 32 w 60"/>
                <a:gd name="T25" fmla="*/ 76 h 81"/>
                <a:gd name="T26" fmla="*/ 23 w 60"/>
                <a:gd name="T27" fmla="*/ 66 h 81"/>
                <a:gd name="T28" fmla="*/ 23 w 60"/>
                <a:gd name="T29" fmla="*/ 48 h 81"/>
                <a:gd name="T30" fmla="*/ 28 w 60"/>
                <a:gd name="T31" fmla="*/ 49 h 81"/>
                <a:gd name="T32" fmla="*/ 35 w 60"/>
                <a:gd name="T33" fmla="*/ 49 h 81"/>
                <a:gd name="T34" fmla="*/ 60 w 60"/>
                <a:gd name="T35" fmla="*/ 25 h 81"/>
                <a:gd name="T36" fmla="*/ 32 w 60"/>
                <a:gd name="T37" fmla="*/ 0 h 81"/>
                <a:gd name="T38" fmla="*/ 30 w 60"/>
                <a:gd name="T39" fmla="*/ 43 h 81"/>
                <a:gd name="T40" fmla="*/ 23 w 60"/>
                <a:gd name="T41" fmla="*/ 42 h 81"/>
                <a:gd name="T42" fmla="*/ 23 w 60"/>
                <a:gd name="T43" fmla="*/ 7 h 81"/>
                <a:gd name="T44" fmla="*/ 30 w 60"/>
                <a:gd name="T45" fmla="*/ 6 h 81"/>
                <a:gd name="T46" fmla="*/ 45 w 60"/>
                <a:gd name="T47" fmla="*/ 24 h 81"/>
                <a:gd name="T48" fmla="*/ 30 w 60"/>
                <a:gd name="T49" fmla="*/ 43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81">
                  <a:moveTo>
                    <a:pt x="32" y="0"/>
                  </a:moveTo>
                  <a:cubicBezTo>
                    <a:pt x="26" y="0"/>
                    <a:pt x="21" y="0"/>
                    <a:pt x="16" y="1"/>
                  </a:cubicBezTo>
                  <a:cubicBezTo>
                    <a:pt x="9" y="1"/>
                    <a:pt x="4" y="2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7" y="7"/>
                    <a:pt x="9" y="9"/>
                    <a:pt x="9" y="15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73"/>
                    <a:pt x="7" y="76"/>
                    <a:pt x="2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5" y="81"/>
                    <a:pt x="35" y="81"/>
                    <a:pt x="35" y="81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25" y="76"/>
                    <a:pt x="22" y="73"/>
                    <a:pt x="23" y="66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5" y="48"/>
                    <a:pt x="26" y="48"/>
                    <a:pt x="28" y="49"/>
                  </a:cubicBezTo>
                  <a:cubicBezTo>
                    <a:pt x="29" y="49"/>
                    <a:pt x="32" y="49"/>
                    <a:pt x="35" y="49"/>
                  </a:cubicBezTo>
                  <a:cubicBezTo>
                    <a:pt x="51" y="48"/>
                    <a:pt x="59" y="40"/>
                    <a:pt x="60" y="25"/>
                  </a:cubicBezTo>
                  <a:cubicBezTo>
                    <a:pt x="59" y="9"/>
                    <a:pt x="50" y="1"/>
                    <a:pt x="32" y="0"/>
                  </a:cubicBezTo>
                  <a:close/>
                  <a:moveTo>
                    <a:pt x="30" y="43"/>
                  </a:moveTo>
                  <a:cubicBezTo>
                    <a:pt x="28" y="43"/>
                    <a:pt x="25" y="43"/>
                    <a:pt x="23" y="42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5" y="6"/>
                    <a:pt x="28" y="5"/>
                    <a:pt x="30" y="6"/>
                  </a:cubicBezTo>
                  <a:cubicBezTo>
                    <a:pt x="40" y="6"/>
                    <a:pt x="45" y="12"/>
                    <a:pt x="45" y="24"/>
                  </a:cubicBezTo>
                  <a:cubicBezTo>
                    <a:pt x="45" y="36"/>
                    <a:pt x="40" y="43"/>
                    <a:pt x="30" y="43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57" name="ïṩļíďe"/>
            <p:cNvSpPr/>
            <p:nvPr/>
          </p:nvSpPr>
          <p:spPr bwMode="auto">
            <a:xfrm>
              <a:off x="8178800" y="3919538"/>
              <a:ext cx="165100" cy="211138"/>
            </a:xfrm>
            <a:custGeom>
              <a:avLst/>
              <a:gdLst>
                <a:gd name="T0" fmla="*/ 46 w 62"/>
                <a:gd name="T1" fmla="*/ 72 h 79"/>
                <a:gd name="T2" fmla="*/ 29 w 62"/>
                <a:gd name="T3" fmla="*/ 72 h 79"/>
                <a:gd name="T4" fmla="*/ 25 w 62"/>
                <a:gd name="T5" fmla="*/ 65 h 79"/>
                <a:gd name="T6" fmla="*/ 25 w 62"/>
                <a:gd name="T7" fmla="*/ 43 h 79"/>
                <a:gd name="T8" fmla="*/ 40 w 62"/>
                <a:gd name="T9" fmla="*/ 43 h 79"/>
                <a:gd name="T10" fmla="*/ 50 w 62"/>
                <a:gd name="T11" fmla="*/ 51 h 79"/>
                <a:gd name="T12" fmla="*/ 54 w 62"/>
                <a:gd name="T13" fmla="*/ 51 h 79"/>
                <a:gd name="T14" fmla="*/ 54 w 62"/>
                <a:gd name="T15" fmla="*/ 26 h 79"/>
                <a:gd name="T16" fmla="*/ 50 w 62"/>
                <a:gd name="T17" fmla="*/ 26 h 79"/>
                <a:gd name="T18" fmla="*/ 42 w 62"/>
                <a:gd name="T19" fmla="*/ 35 h 79"/>
                <a:gd name="T20" fmla="*/ 25 w 62"/>
                <a:gd name="T21" fmla="*/ 35 h 79"/>
                <a:gd name="T22" fmla="*/ 25 w 62"/>
                <a:gd name="T23" fmla="*/ 7 h 79"/>
                <a:gd name="T24" fmla="*/ 48 w 62"/>
                <a:gd name="T25" fmla="*/ 7 h 79"/>
                <a:gd name="T26" fmla="*/ 55 w 62"/>
                <a:gd name="T27" fmla="*/ 18 h 79"/>
                <a:gd name="T28" fmla="*/ 59 w 62"/>
                <a:gd name="T29" fmla="*/ 18 h 79"/>
                <a:gd name="T30" fmla="*/ 58 w 62"/>
                <a:gd name="T31" fmla="*/ 0 h 79"/>
                <a:gd name="T32" fmla="*/ 1 w 62"/>
                <a:gd name="T33" fmla="*/ 0 h 79"/>
                <a:gd name="T34" fmla="*/ 1 w 62"/>
                <a:gd name="T35" fmla="*/ 5 h 79"/>
                <a:gd name="T36" fmla="*/ 3 w 62"/>
                <a:gd name="T37" fmla="*/ 5 h 79"/>
                <a:gd name="T38" fmla="*/ 11 w 62"/>
                <a:gd name="T39" fmla="*/ 14 h 79"/>
                <a:gd name="T40" fmla="*/ 11 w 62"/>
                <a:gd name="T41" fmla="*/ 65 h 79"/>
                <a:gd name="T42" fmla="*/ 3 w 62"/>
                <a:gd name="T43" fmla="*/ 74 h 79"/>
                <a:gd name="T44" fmla="*/ 0 w 62"/>
                <a:gd name="T45" fmla="*/ 74 h 79"/>
                <a:gd name="T46" fmla="*/ 0 w 62"/>
                <a:gd name="T47" fmla="*/ 79 h 79"/>
                <a:gd name="T48" fmla="*/ 61 w 62"/>
                <a:gd name="T49" fmla="*/ 79 h 79"/>
                <a:gd name="T50" fmla="*/ 62 w 62"/>
                <a:gd name="T51" fmla="*/ 59 h 79"/>
                <a:gd name="T52" fmla="*/ 58 w 62"/>
                <a:gd name="T53" fmla="*/ 59 h 79"/>
                <a:gd name="T54" fmla="*/ 46 w 62"/>
                <a:gd name="T55" fmla="*/ 7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2" h="79">
                  <a:moveTo>
                    <a:pt x="46" y="72"/>
                  </a:moveTo>
                  <a:cubicBezTo>
                    <a:pt x="29" y="72"/>
                    <a:pt x="29" y="72"/>
                    <a:pt x="29" y="72"/>
                  </a:cubicBezTo>
                  <a:cubicBezTo>
                    <a:pt x="26" y="72"/>
                    <a:pt x="25" y="70"/>
                    <a:pt x="25" y="65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47" y="42"/>
                    <a:pt x="50" y="45"/>
                    <a:pt x="50" y="51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33"/>
                    <a:pt x="47" y="36"/>
                    <a:pt x="42" y="35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52" y="7"/>
                    <a:pt x="54" y="10"/>
                    <a:pt x="55" y="18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9" y="5"/>
                    <a:pt x="12" y="8"/>
                    <a:pt x="11" y="14"/>
                  </a:cubicBezTo>
                  <a:cubicBezTo>
                    <a:pt x="11" y="65"/>
                    <a:pt x="11" y="65"/>
                    <a:pt x="11" y="65"/>
                  </a:cubicBezTo>
                  <a:cubicBezTo>
                    <a:pt x="12" y="71"/>
                    <a:pt x="9" y="74"/>
                    <a:pt x="3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57" y="68"/>
                    <a:pt x="53" y="72"/>
                    <a:pt x="46" y="72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58" name="íṧḷïďê"/>
            <p:cNvSpPr/>
            <p:nvPr/>
          </p:nvSpPr>
          <p:spPr bwMode="auto">
            <a:xfrm>
              <a:off x="8378825" y="3914775"/>
              <a:ext cx="180975" cy="215900"/>
            </a:xfrm>
            <a:custGeom>
              <a:avLst/>
              <a:gdLst>
                <a:gd name="T0" fmla="*/ 63 w 68"/>
                <a:gd name="T1" fmla="*/ 0 h 81"/>
                <a:gd name="T2" fmla="*/ 58 w 68"/>
                <a:gd name="T3" fmla="*/ 2 h 81"/>
                <a:gd name="T4" fmla="*/ 10 w 68"/>
                <a:gd name="T5" fmla="*/ 2 h 81"/>
                <a:gd name="T6" fmla="*/ 7 w 68"/>
                <a:gd name="T7" fmla="*/ 2 h 81"/>
                <a:gd name="T8" fmla="*/ 5 w 68"/>
                <a:gd name="T9" fmla="*/ 0 h 81"/>
                <a:gd name="T10" fmla="*/ 2 w 68"/>
                <a:gd name="T11" fmla="*/ 0 h 81"/>
                <a:gd name="T12" fmla="*/ 0 w 68"/>
                <a:gd name="T13" fmla="*/ 23 h 81"/>
                <a:gd name="T14" fmla="*/ 4 w 68"/>
                <a:gd name="T15" fmla="*/ 23 h 81"/>
                <a:gd name="T16" fmla="*/ 7 w 68"/>
                <a:gd name="T17" fmla="*/ 11 h 81"/>
                <a:gd name="T18" fmla="*/ 15 w 68"/>
                <a:gd name="T19" fmla="*/ 9 h 81"/>
                <a:gd name="T20" fmla="*/ 27 w 68"/>
                <a:gd name="T21" fmla="*/ 9 h 81"/>
                <a:gd name="T22" fmla="*/ 27 w 68"/>
                <a:gd name="T23" fmla="*/ 66 h 81"/>
                <a:gd name="T24" fmla="*/ 19 w 68"/>
                <a:gd name="T25" fmla="*/ 76 h 81"/>
                <a:gd name="T26" fmla="*/ 16 w 68"/>
                <a:gd name="T27" fmla="*/ 76 h 81"/>
                <a:gd name="T28" fmla="*/ 16 w 68"/>
                <a:gd name="T29" fmla="*/ 81 h 81"/>
                <a:gd name="T30" fmla="*/ 52 w 68"/>
                <a:gd name="T31" fmla="*/ 81 h 81"/>
                <a:gd name="T32" fmla="*/ 52 w 68"/>
                <a:gd name="T33" fmla="*/ 76 h 81"/>
                <a:gd name="T34" fmla="*/ 50 w 68"/>
                <a:gd name="T35" fmla="*/ 76 h 81"/>
                <a:gd name="T36" fmla="*/ 41 w 68"/>
                <a:gd name="T37" fmla="*/ 66 h 81"/>
                <a:gd name="T38" fmla="*/ 41 w 68"/>
                <a:gd name="T39" fmla="*/ 9 h 81"/>
                <a:gd name="T40" fmla="*/ 53 w 68"/>
                <a:gd name="T41" fmla="*/ 9 h 81"/>
                <a:gd name="T42" fmla="*/ 61 w 68"/>
                <a:gd name="T43" fmla="*/ 11 h 81"/>
                <a:gd name="T44" fmla="*/ 64 w 68"/>
                <a:gd name="T45" fmla="*/ 23 h 81"/>
                <a:gd name="T46" fmla="*/ 68 w 68"/>
                <a:gd name="T47" fmla="*/ 23 h 81"/>
                <a:gd name="T48" fmla="*/ 66 w 68"/>
                <a:gd name="T49" fmla="*/ 0 h 81"/>
                <a:gd name="T50" fmla="*/ 63 w 68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8" h="81">
                  <a:moveTo>
                    <a:pt x="63" y="0"/>
                  </a:moveTo>
                  <a:cubicBezTo>
                    <a:pt x="62" y="2"/>
                    <a:pt x="60" y="3"/>
                    <a:pt x="58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8" y="2"/>
                    <a:pt x="7" y="2"/>
                  </a:cubicBezTo>
                  <a:cubicBezTo>
                    <a:pt x="6" y="1"/>
                    <a:pt x="6" y="1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5" y="17"/>
                    <a:pt x="6" y="12"/>
                    <a:pt x="7" y="11"/>
                  </a:cubicBezTo>
                  <a:cubicBezTo>
                    <a:pt x="8" y="9"/>
                    <a:pt x="11" y="9"/>
                    <a:pt x="15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72"/>
                    <a:pt x="25" y="76"/>
                    <a:pt x="19" y="76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43" y="76"/>
                    <a:pt x="40" y="73"/>
                    <a:pt x="41" y="66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7" y="9"/>
                    <a:pt x="60" y="9"/>
                    <a:pt x="61" y="11"/>
                  </a:cubicBezTo>
                  <a:cubicBezTo>
                    <a:pt x="62" y="12"/>
                    <a:pt x="63" y="17"/>
                    <a:pt x="64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6" y="0"/>
                    <a:pt x="66" y="0"/>
                    <a:pt x="66" y="0"/>
                  </a:cubicBezTo>
                  <a:lnTo>
                    <a:pt x="63" y="0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59" name="íṩlíḑè"/>
            <p:cNvSpPr/>
            <p:nvPr/>
          </p:nvSpPr>
          <p:spPr bwMode="auto">
            <a:xfrm>
              <a:off x="8589963" y="3914775"/>
              <a:ext cx="206375" cy="215900"/>
            </a:xfrm>
            <a:custGeom>
              <a:avLst/>
              <a:gdLst>
                <a:gd name="T0" fmla="*/ 65 w 78"/>
                <a:gd name="T1" fmla="*/ 69 h 81"/>
                <a:gd name="T2" fmla="*/ 57 w 78"/>
                <a:gd name="T3" fmla="*/ 57 h 81"/>
                <a:gd name="T4" fmla="*/ 47 w 78"/>
                <a:gd name="T5" fmla="*/ 44 h 81"/>
                <a:gd name="T6" fmla="*/ 62 w 78"/>
                <a:gd name="T7" fmla="*/ 23 h 81"/>
                <a:gd name="T8" fmla="*/ 58 w 78"/>
                <a:gd name="T9" fmla="*/ 9 h 81"/>
                <a:gd name="T10" fmla="*/ 30 w 78"/>
                <a:gd name="T11" fmla="*/ 0 h 81"/>
                <a:gd name="T12" fmla="*/ 13 w 78"/>
                <a:gd name="T13" fmla="*/ 1 h 81"/>
                <a:gd name="T14" fmla="*/ 2 w 78"/>
                <a:gd name="T15" fmla="*/ 2 h 81"/>
                <a:gd name="T16" fmla="*/ 0 w 78"/>
                <a:gd name="T17" fmla="*/ 2 h 81"/>
                <a:gd name="T18" fmla="*/ 0 w 78"/>
                <a:gd name="T19" fmla="*/ 7 h 81"/>
                <a:gd name="T20" fmla="*/ 2 w 78"/>
                <a:gd name="T21" fmla="*/ 7 h 81"/>
                <a:gd name="T22" fmla="*/ 10 w 78"/>
                <a:gd name="T23" fmla="*/ 17 h 81"/>
                <a:gd name="T24" fmla="*/ 10 w 78"/>
                <a:gd name="T25" fmla="*/ 66 h 81"/>
                <a:gd name="T26" fmla="*/ 1 w 78"/>
                <a:gd name="T27" fmla="*/ 76 h 81"/>
                <a:gd name="T28" fmla="*/ 0 w 78"/>
                <a:gd name="T29" fmla="*/ 76 h 81"/>
                <a:gd name="T30" fmla="*/ 0 w 78"/>
                <a:gd name="T31" fmla="*/ 81 h 81"/>
                <a:gd name="T32" fmla="*/ 35 w 78"/>
                <a:gd name="T33" fmla="*/ 81 h 81"/>
                <a:gd name="T34" fmla="*/ 35 w 78"/>
                <a:gd name="T35" fmla="*/ 76 h 81"/>
                <a:gd name="T36" fmla="*/ 32 w 78"/>
                <a:gd name="T37" fmla="*/ 76 h 81"/>
                <a:gd name="T38" fmla="*/ 24 w 78"/>
                <a:gd name="T39" fmla="*/ 66 h 81"/>
                <a:gd name="T40" fmla="*/ 24 w 78"/>
                <a:gd name="T41" fmla="*/ 47 h 81"/>
                <a:gd name="T42" fmla="*/ 32 w 78"/>
                <a:gd name="T43" fmla="*/ 47 h 81"/>
                <a:gd name="T44" fmla="*/ 43 w 78"/>
                <a:gd name="T45" fmla="*/ 63 h 81"/>
                <a:gd name="T46" fmla="*/ 50 w 78"/>
                <a:gd name="T47" fmla="*/ 74 h 81"/>
                <a:gd name="T48" fmla="*/ 58 w 78"/>
                <a:gd name="T49" fmla="*/ 80 h 81"/>
                <a:gd name="T50" fmla="*/ 72 w 78"/>
                <a:gd name="T51" fmla="*/ 81 h 81"/>
                <a:gd name="T52" fmla="*/ 78 w 78"/>
                <a:gd name="T53" fmla="*/ 81 h 81"/>
                <a:gd name="T54" fmla="*/ 78 w 78"/>
                <a:gd name="T55" fmla="*/ 77 h 81"/>
                <a:gd name="T56" fmla="*/ 65 w 78"/>
                <a:gd name="T57" fmla="*/ 69 h 81"/>
                <a:gd name="T58" fmla="*/ 28 w 78"/>
                <a:gd name="T59" fmla="*/ 42 h 81"/>
                <a:gd name="T60" fmla="*/ 24 w 78"/>
                <a:gd name="T61" fmla="*/ 42 h 81"/>
                <a:gd name="T62" fmla="*/ 24 w 78"/>
                <a:gd name="T63" fmla="*/ 6 h 81"/>
                <a:gd name="T64" fmla="*/ 30 w 78"/>
                <a:gd name="T65" fmla="*/ 6 h 81"/>
                <a:gd name="T66" fmla="*/ 47 w 78"/>
                <a:gd name="T67" fmla="*/ 24 h 81"/>
                <a:gd name="T68" fmla="*/ 28 w 78"/>
                <a:gd name="T69" fmla="*/ 4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8" h="81">
                  <a:moveTo>
                    <a:pt x="65" y="69"/>
                  </a:moveTo>
                  <a:cubicBezTo>
                    <a:pt x="63" y="67"/>
                    <a:pt x="60" y="62"/>
                    <a:pt x="57" y="57"/>
                  </a:cubicBezTo>
                  <a:cubicBezTo>
                    <a:pt x="53" y="51"/>
                    <a:pt x="50" y="46"/>
                    <a:pt x="47" y="44"/>
                  </a:cubicBezTo>
                  <a:cubicBezTo>
                    <a:pt x="57" y="40"/>
                    <a:pt x="62" y="34"/>
                    <a:pt x="62" y="23"/>
                  </a:cubicBezTo>
                  <a:cubicBezTo>
                    <a:pt x="62" y="18"/>
                    <a:pt x="61" y="13"/>
                    <a:pt x="58" y="9"/>
                  </a:cubicBezTo>
                  <a:cubicBezTo>
                    <a:pt x="53" y="3"/>
                    <a:pt x="44" y="0"/>
                    <a:pt x="30" y="0"/>
                  </a:cubicBezTo>
                  <a:cubicBezTo>
                    <a:pt x="26" y="0"/>
                    <a:pt x="20" y="1"/>
                    <a:pt x="13" y="1"/>
                  </a:cubicBezTo>
                  <a:cubicBezTo>
                    <a:pt x="11" y="1"/>
                    <a:pt x="7" y="1"/>
                    <a:pt x="2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8" y="7"/>
                    <a:pt x="11" y="10"/>
                    <a:pt x="10" y="17"/>
                  </a:cubicBezTo>
                  <a:cubicBezTo>
                    <a:pt x="10" y="66"/>
                    <a:pt x="10" y="66"/>
                    <a:pt x="10" y="66"/>
                  </a:cubicBezTo>
                  <a:cubicBezTo>
                    <a:pt x="10" y="73"/>
                    <a:pt x="7" y="76"/>
                    <a:pt x="1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5" y="81"/>
                    <a:pt x="35" y="81"/>
                    <a:pt x="35" y="81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27" y="76"/>
                    <a:pt x="24" y="72"/>
                    <a:pt x="24" y="66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5" y="50"/>
                    <a:pt x="38" y="55"/>
                    <a:pt x="43" y="63"/>
                  </a:cubicBezTo>
                  <a:cubicBezTo>
                    <a:pt x="46" y="68"/>
                    <a:pt x="48" y="72"/>
                    <a:pt x="50" y="74"/>
                  </a:cubicBezTo>
                  <a:cubicBezTo>
                    <a:pt x="52" y="77"/>
                    <a:pt x="55" y="79"/>
                    <a:pt x="58" y="80"/>
                  </a:cubicBezTo>
                  <a:cubicBezTo>
                    <a:pt x="61" y="81"/>
                    <a:pt x="66" y="81"/>
                    <a:pt x="72" y="81"/>
                  </a:cubicBezTo>
                  <a:cubicBezTo>
                    <a:pt x="75" y="81"/>
                    <a:pt x="77" y="81"/>
                    <a:pt x="78" y="81"/>
                  </a:cubicBezTo>
                  <a:cubicBezTo>
                    <a:pt x="78" y="77"/>
                    <a:pt x="78" y="77"/>
                    <a:pt x="78" y="77"/>
                  </a:cubicBezTo>
                  <a:cubicBezTo>
                    <a:pt x="73" y="77"/>
                    <a:pt x="68" y="74"/>
                    <a:pt x="65" y="69"/>
                  </a:cubicBezTo>
                  <a:close/>
                  <a:moveTo>
                    <a:pt x="28" y="42"/>
                  </a:moveTo>
                  <a:cubicBezTo>
                    <a:pt x="24" y="42"/>
                    <a:pt x="24" y="42"/>
                    <a:pt x="24" y="42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41" y="6"/>
                    <a:pt x="47" y="12"/>
                    <a:pt x="47" y="24"/>
                  </a:cubicBezTo>
                  <a:cubicBezTo>
                    <a:pt x="48" y="36"/>
                    <a:pt x="41" y="42"/>
                    <a:pt x="28" y="42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60" name="ïš1iḑé"/>
            <p:cNvSpPr/>
            <p:nvPr/>
          </p:nvSpPr>
          <p:spPr bwMode="auto">
            <a:xfrm>
              <a:off x="8826500" y="3914775"/>
              <a:ext cx="200025" cy="219075"/>
            </a:xfrm>
            <a:custGeom>
              <a:avLst/>
              <a:gdLst>
                <a:gd name="T0" fmla="*/ 39 w 75"/>
                <a:gd name="T1" fmla="*/ 0 h 82"/>
                <a:gd name="T2" fmla="*/ 0 w 75"/>
                <a:gd name="T3" fmla="*/ 43 h 82"/>
                <a:gd name="T4" fmla="*/ 37 w 75"/>
                <a:gd name="T5" fmla="*/ 82 h 82"/>
                <a:gd name="T6" fmla="*/ 75 w 75"/>
                <a:gd name="T7" fmla="*/ 40 h 82"/>
                <a:gd name="T8" fmla="*/ 39 w 75"/>
                <a:gd name="T9" fmla="*/ 0 h 82"/>
                <a:gd name="T10" fmla="*/ 39 w 75"/>
                <a:gd name="T11" fmla="*/ 77 h 82"/>
                <a:gd name="T12" fmla="*/ 15 w 75"/>
                <a:gd name="T13" fmla="*/ 37 h 82"/>
                <a:gd name="T14" fmla="*/ 36 w 75"/>
                <a:gd name="T15" fmla="*/ 5 h 82"/>
                <a:gd name="T16" fmla="*/ 60 w 75"/>
                <a:gd name="T17" fmla="*/ 45 h 82"/>
                <a:gd name="T18" fmla="*/ 39 w 75"/>
                <a:gd name="T19" fmla="*/ 7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82">
                  <a:moveTo>
                    <a:pt x="39" y="0"/>
                  </a:moveTo>
                  <a:cubicBezTo>
                    <a:pt x="14" y="1"/>
                    <a:pt x="1" y="16"/>
                    <a:pt x="0" y="43"/>
                  </a:cubicBezTo>
                  <a:cubicBezTo>
                    <a:pt x="2" y="67"/>
                    <a:pt x="14" y="80"/>
                    <a:pt x="37" y="82"/>
                  </a:cubicBezTo>
                  <a:cubicBezTo>
                    <a:pt x="61" y="81"/>
                    <a:pt x="74" y="67"/>
                    <a:pt x="75" y="40"/>
                  </a:cubicBezTo>
                  <a:cubicBezTo>
                    <a:pt x="74" y="15"/>
                    <a:pt x="62" y="1"/>
                    <a:pt x="39" y="0"/>
                  </a:cubicBezTo>
                  <a:close/>
                  <a:moveTo>
                    <a:pt x="39" y="77"/>
                  </a:moveTo>
                  <a:cubicBezTo>
                    <a:pt x="24" y="75"/>
                    <a:pt x="16" y="62"/>
                    <a:pt x="15" y="37"/>
                  </a:cubicBezTo>
                  <a:cubicBezTo>
                    <a:pt x="16" y="17"/>
                    <a:pt x="23" y="6"/>
                    <a:pt x="36" y="5"/>
                  </a:cubicBezTo>
                  <a:cubicBezTo>
                    <a:pt x="51" y="7"/>
                    <a:pt x="59" y="20"/>
                    <a:pt x="60" y="45"/>
                  </a:cubicBezTo>
                  <a:cubicBezTo>
                    <a:pt x="59" y="66"/>
                    <a:pt x="52" y="76"/>
                    <a:pt x="39" y="77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61" name="íṩḷíḑè"/>
            <p:cNvSpPr/>
            <p:nvPr/>
          </p:nvSpPr>
          <p:spPr bwMode="auto">
            <a:xfrm>
              <a:off x="9059863" y="3919538"/>
              <a:ext cx="165100" cy="211138"/>
            </a:xfrm>
            <a:custGeom>
              <a:avLst/>
              <a:gdLst>
                <a:gd name="T0" fmla="*/ 56 w 62"/>
                <a:gd name="T1" fmla="*/ 59 h 79"/>
                <a:gd name="T2" fmla="*/ 43 w 62"/>
                <a:gd name="T3" fmla="*/ 72 h 79"/>
                <a:gd name="T4" fmla="*/ 30 w 62"/>
                <a:gd name="T5" fmla="*/ 72 h 79"/>
                <a:gd name="T6" fmla="*/ 25 w 62"/>
                <a:gd name="T7" fmla="*/ 66 h 79"/>
                <a:gd name="T8" fmla="*/ 25 w 62"/>
                <a:gd name="T9" fmla="*/ 14 h 79"/>
                <a:gd name="T10" fmla="*/ 32 w 62"/>
                <a:gd name="T11" fmla="*/ 5 h 79"/>
                <a:gd name="T12" fmla="*/ 35 w 62"/>
                <a:gd name="T13" fmla="*/ 5 h 79"/>
                <a:gd name="T14" fmla="*/ 35 w 62"/>
                <a:gd name="T15" fmla="*/ 0 h 79"/>
                <a:gd name="T16" fmla="*/ 1 w 62"/>
                <a:gd name="T17" fmla="*/ 0 h 79"/>
                <a:gd name="T18" fmla="*/ 1 w 62"/>
                <a:gd name="T19" fmla="*/ 5 h 79"/>
                <a:gd name="T20" fmla="*/ 3 w 62"/>
                <a:gd name="T21" fmla="*/ 5 h 79"/>
                <a:gd name="T22" fmla="*/ 11 w 62"/>
                <a:gd name="T23" fmla="*/ 14 h 79"/>
                <a:gd name="T24" fmla="*/ 11 w 62"/>
                <a:gd name="T25" fmla="*/ 65 h 79"/>
                <a:gd name="T26" fmla="*/ 2 w 62"/>
                <a:gd name="T27" fmla="*/ 74 h 79"/>
                <a:gd name="T28" fmla="*/ 0 w 62"/>
                <a:gd name="T29" fmla="*/ 74 h 79"/>
                <a:gd name="T30" fmla="*/ 0 w 62"/>
                <a:gd name="T31" fmla="*/ 79 h 79"/>
                <a:gd name="T32" fmla="*/ 55 w 62"/>
                <a:gd name="T33" fmla="*/ 79 h 79"/>
                <a:gd name="T34" fmla="*/ 62 w 62"/>
                <a:gd name="T35" fmla="*/ 56 h 79"/>
                <a:gd name="T36" fmla="*/ 58 w 62"/>
                <a:gd name="T37" fmla="*/ 56 h 79"/>
                <a:gd name="T38" fmla="*/ 56 w 62"/>
                <a:gd name="T39" fmla="*/ 5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" h="79">
                  <a:moveTo>
                    <a:pt x="56" y="59"/>
                  </a:moveTo>
                  <a:cubicBezTo>
                    <a:pt x="52" y="69"/>
                    <a:pt x="47" y="73"/>
                    <a:pt x="43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26" y="72"/>
                    <a:pt x="24" y="70"/>
                    <a:pt x="25" y="66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8"/>
                    <a:pt x="27" y="5"/>
                    <a:pt x="32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8" y="5"/>
                    <a:pt x="11" y="8"/>
                    <a:pt x="11" y="14"/>
                  </a:cubicBezTo>
                  <a:cubicBezTo>
                    <a:pt x="11" y="65"/>
                    <a:pt x="11" y="65"/>
                    <a:pt x="11" y="65"/>
                  </a:cubicBezTo>
                  <a:cubicBezTo>
                    <a:pt x="11" y="71"/>
                    <a:pt x="8" y="74"/>
                    <a:pt x="2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57"/>
                    <a:pt x="57" y="58"/>
                    <a:pt x="56" y="59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62" name="ïŝľïḋé"/>
            <p:cNvSpPr/>
            <p:nvPr/>
          </p:nvSpPr>
          <p:spPr bwMode="auto">
            <a:xfrm>
              <a:off x="9239250" y="3919538"/>
              <a:ext cx="166688" cy="211138"/>
            </a:xfrm>
            <a:custGeom>
              <a:avLst/>
              <a:gdLst>
                <a:gd name="T0" fmla="*/ 47 w 63"/>
                <a:gd name="T1" fmla="*/ 72 h 79"/>
                <a:gd name="T2" fmla="*/ 30 w 63"/>
                <a:gd name="T3" fmla="*/ 72 h 79"/>
                <a:gd name="T4" fmla="*/ 26 w 63"/>
                <a:gd name="T5" fmla="*/ 65 h 79"/>
                <a:gd name="T6" fmla="*/ 26 w 63"/>
                <a:gd name="T7" fmla="*/ 43 h 79"/>
                <a:gd name="T8" fmla="*/ 41 w 63"/>
                <a:gd name="T9" fmla="*/ 43 h 79"/>
                <a:gd name="T10" fmla="*/ 50 w 63"/>
                <a:gd name="T11" fmla="*/ 51 h 79"/>
                <a:gd name="T12" fmla="*/ 54 w 63"/>
                <a:gd name="T13" fmla="*/ 51 h 79"/>
                <a:gd name="T14" fmla="*/ 54 w 63"/>
                <a:gd name="T15" fmla="*/ 26 h 79"/>
                <a:gd name="T16" fmla="*/ 50 w 63"/>
                <a:gd name="T17" fmla="*/ 26 h 79"/>
                <a:gd name="T18" fmla="*/ 43 w 63"/>
                <a:gd name="T19" fmla="*/ 35 h 79"/>
                <a:gd name="T20" fmla="*/ 26 w 63"/>
                <a:gd name="T21" fmla="*/ 35 h 79"/>
                <a:gd name="T22" fmla="*/ 26 w 63"/>
                <a:gd name="T23" fmla="*/ 7 h 79"/>
                <a:gd name="T24" fmla="*/ 48 w 63"/>
                <a:gd name="T25" fmla="*/ 7 h 79"/>
                <a:gd name="T26" fmla="*/ 55 w 63"/>
                <a:gd name="T27" fmla="*/ 18 h 79"/>
                <a:gd name="T28" fmla="*/ 59 w 63"/>
                <a:gd name="T29" fmla="*/ 18 h 79"/>
                <a:gd name="T30" fmla="*/ 58 w 63"/>
                <a:gd name="T31" fmla="*/ 0 h 79"/>
                <a:gd name="T32" fmla="*/ 2 w 63"/>
                <a:gd name="T33" fmla="*/ 0 h 79"/>
                <a:gd name="T34" fmla="*/ 2 w 63"/>
                <a:gd name="T35" fmla="*/ 5 h 79"/>
                <a:gd name="T36" fmla="*/ 3 w 63"/>
                <a:gd name="T37" fmla="*/ 5 h 79"/>
                <a:gd name="T38" fmla="*/ 12 w 63"/>
                <a:gd name="T39" fmla="*/ 14 h 79"/>
                <a:gd name="T40" fmla="*/ 12 w 63"/>
                <a:gd name="T41" fmla="*/ 65 h 79"/>
                <a:gd name="T42" fmla="*/ 4 w 63"/>
                <a:gd name="T43" fmla="*/ 74 h 79"/>
                <a:gd name="T44" fmla="*/ 0 w 63"/>
                <a:gd name="T45" fmla="*/ 74 h 79"/>
                <a:gd name="T46" fmla="*/ 0 w 63"/>
                <a:gd name="T47" fmla="*/ 79 h 79"/>
                <a:gd name="T48" fmla="*/ 61 w 63"/>
                <a:gd name="T49" fmla="*/ 79 h 79"/>
                <a:gd name="T50" fmla="*/ 63 w 63"/>
                <a:gd name="T51" fmla="*/ 59 h 79"/>
                <a:gd name="T52" fmla="*/ 59 w 63"/>
                <a:gd name="T53" fmla="*/ 59 h 79"/>
                <a:gd name="T54" fmla="*/ 47 w 63"/>
                <a:gd name="T55" fmla="*/ 7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3" h="79">
                  <a:moveTo>
                    <a:pt x="47" y="72"/>
                  </a:moveTo>
                  <a:cubicBezTo>
                    <a:pt x="30" y="72"/>
                    <a:pt x="30" y="72"/>
                    <a:pt x="30" y="72"/>
                  </a:cubicBezTo>
                  <a:cubicBezTo>
                    <a:pt x="27" y="72"/>
                    <a:pt x="26" y="70"/>
                    <a:pt x="26" y="65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8" y="42"/>
                    <a:pt x="51" y="45"/>
                    <a:pt x="50" y="51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33"/>
                    <a:pt x="48" y="36"/>
                    <a:pt x="43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52" y="7"/>
                    <a:pt x="55" y="10"/>
                    <a:pt x="55" y="18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9" y="5"/>
                    <a:pt x="12" y="8"/>
                    <a:pt x="12" y="1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1"/>
                    <a:pt x="10" y="74"/>
                    <a:pt x="4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3" y="59"/>
                    <a:pt x="63" y="59"/>
                    <a:pt x="63" y="59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7" y="68"/>
                    <a:pt x="53" y="72"/>
                    <a:pt x="47" y="72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63" name="îsḻiḑe"/>
            <p:cNvSpPr/>
            <p:nvPr/>
          </p:nvSpPr>
          <p:spPr bwMode="auto">
            <a:xfrm>
              <a:off x="9432925" y="3919538"/>
              <a:ext cx="204788" cy="214313"/>
            </a:xfrm>
            <a:custGeom>
              <a:avLst/>
              <a:gdLst>
                <a:gd name="T0" fmla="*/ 51 w 77"/>
                <a:gd name="T1" fmla="*/ 5 h 80"/>
                <a:gd name="T2" fmla="*/ 53 w 77"/>
                <a:gd name="T3" fmla="*/ 5 h 80"/>
                <a:gd name="T4" fmla="*/ 61 w 77"/>
                <a:gd name="T5" fmla="*/ 18 h 80"/>
                <a:gd name="T6" fmla="*/ 61 w 77"/>
                <a:gd name="T7" fmla="*/ 48 h 80"/>
                <a:gd name="T8" fmla="*/ 41 w 77"/>
                <a:gd name="T9" fmla="*/ 72 h 80"/>
                <a:gd name="T10" fmla="*/ 23 w 77"/>
                <a:gd name="T11" fmla="*/ 51 h 80"/>
                <a:gd name="T12" fmla="*/ 23 w 77"/>
                <a:gd name="T13" fmla="*/ 14 h 80"/>
                <a:gd name="T14" fmla="*/ 30 w 77"/>
                <a:gd name="T15" fmla="*/ 5 h 80"/>
                <a:gd name="T16" fmla="*/ 32 w 77"/>
                <a:gd name="T17" fmla="*/ 5 h 80"/>
                <a:gd name="T18" fmla="*/ 32 w 77"/>
                <a:gd name="T19" fmla="*/ 0 h 80"/>
                <a:gd name="T20" fmla="*/ 0 w 77"/>
                <a:gd name="T21" fmla="*/ 0 h 80"/>
                <a:gd name="T22" fmla="*/ 0 w 77"/>
                <a:gd name="T23" fmla="*/ 5 h 80"/>
                <a:gd name="T24" fmla="*/ 2 w 77"/>
                <a:gd name="T25" fmla="*/ 5 h 80"/>
                <a:gd name="T26" fmla="*/ 9 w 77"/>
                <a:gd name="T27" fmla="*/ 14 h 80"/>
                <a:gd name="T28" fmla="*/ 9 w 77"/>
                <a:gd name="T29" fmla="*/ 51 h 80"/>
                <a:gd name="T30" fmla="*/ 39 w 77"/>
                <a:gd name="T31" fmla="*/ 80 h 80"/>
                <a:gd name="T32" fmla="*/ 67 w 77"/>
                <a:gd name="T33" fmla="*/ 47 h 80"/>
                <a:gd name="T34" fmla="*/ 67 w 77"/>
                <a:gd name="T35" fmla="*/ 16 h 80"/>
                <a:gd name="T36" fmla="*/ 77 w 77"/>
                <a:gd name="T37" fmla="*/ 5 h 80"/>
                <a:gd name="T38" fmla="*/ 77 w 77"/>
                <a:gd name="T39" fmla="*/ 5 h 80"/>
                <a:gd name="T40" fmla="*/ 77 w 77"/>
                <a:gd name="T41" fmla="*/ 0 h 80"/>
                <a:gd name="T42" fmla="*/ 51 w 77"/>
                <a:gd name="T43" fmla="*/ 0 h 80"/>
                <a:gd name="T44" fmla="*/ 51 w 77"/>
                <a:gd name="T45" fmla="*/ 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7" h="80">
                  <a:moveTo>
                    <a:pt x="51" y="5"/>
                  </a:moveTo>
                  <a:cubicBezTo>
                    <a:pt x="53" y="5"/>
                    <a:pt x="53" y="5"/>
                    <a:pt x="53" y="5"/>
                  </a:cubicBezTo>
                  <a:cubicBezTo>
                    <a:pt x="59" y="5"/>
                    <a:pt x="61" y="9"/>
                    <a:pt x="61" y="18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64"/>
                    <a:pt x="54" y="71"/>
                    <a:pt x="41" y="72"/>
                  </a:cubicBezTo>
                  <a:cubicBezTo>
                    <a:pt x="29" y="71"/>
                    <a:pt x="23" y="64"/>
                    <a:pt x="23" y="51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8"/>
                    <a:pt x="25" y="5"/>
                    <a:pt x="30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7" y="5"/>
                    <a:pt x="9" y="8"/>
                    <a:pt x="9" y="14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70"/>
                    <a:pt x="19" y="79"/>
                    <a:pt x="39" y="80"/>
                  </a:cubicBezTo>
                  <a:cubicBezTo>
                    <a:pt x="58" y="79"/>
                    <a:pt x="67" y="68"/>
                    <a:pt x="67" y="47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8"/>
                    <a:pt x="70" y="5"/>
                    <a:pt x="77" y="5"/>
                  </a:cubicBezTo>
                  <a:cubicBezTo>
                    <a:pt x="77" y="5"/>
                    <a:pt x="77" y="5"/>
                    <a:pt x="77" y="5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51" y="5"/>
                  </a:ln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264" name="îṧľíḋê"/>
            <p:cNvSpPr/>
            <p:nvPr/>
          </p:nvSpPr>
          <p:spPr bwMode="auto">
            <a:xfrm>
              <a:off x="9661525" y="3919538"/>
              <a:ext cx="242888" cy="211138"/>
            </a:xfrm>
            <a:custGeom>
              <a:avLst/>
              <a:gdLst>
                <a:gd name="T0" fmla="*/ 84 w 91"/>
                <a:gd name="T1" fmla="*/ 71 h 79"/>
                <a:gd name="T2" fmla="*/ 82 w 91"/>
                <a:gd name="T3" fmla="*/ 61 h 79"/>
                <a:gd name="T4" fmla="*/ 80 w 91"/>
                <a:gd name="T5" fmla="*/ 15 h 79"/>
                <a:gd name="T6" fmla="*/ 80 w 91"/>
                <a:gd name="T7" fmla="*/ 7 h 79"/>
                <a:gd name="T8" fmla="*/ 87 w 91"/>
                <a:gd name="T9" fmla="*/ 5 h 79"/>
                <a:gd name="T10" fmla="*/ 87 w 91"/>
                <a:gd name="T11" fmla="*/ 0 h 79"/>
                <a:gd name="T12" fmla="*/ 65 w 91"/>
                <a:gd name="T13" fmla="*/ 0 h 79"/>
                <a:gd name="T14" fmla="*/ 46 w 91"/>
                <a:gd name="T15" fmla="*/ 53 h 79"/>
                <a:gd name="T16" fmla="*/ 26 w 91"/>
                <a:gd name="T17" fmla="*/ 0 h 79"/>
                <a:gd name="T18" fmla="*/ 4 w 91"/>
                <a:gd name="T19" fmla="*/ 0 h 79"/>
                <a:gd name="T20" fmla="*/ 4 w 91"/>
                <a:gd name="T21" fmla="*/ 5 h 79"/>
                <a:gd name="T22" fmla="*/ 10 w 91"/>
                <a:gd name="T23" fmla="*/ 7 h 79"/>
                <a:gd name="T24" fmla="*/ 12 w 91"/>
                <a:gd name="T25" fmla="*/ 15 h 79"/>
                <a:gd name="T26" fmla="*/ 9 w 91"/>
                <a:gd name="T27" fmla="*/ 60 h 79"/>
                <a:gd name="T28" fmla="*/ 8 w 91"/>
                <a:gd name="T29" fmla="*/ 71 h 79"/>
                <a:gd name="T30" fmla="*/ 0 w 91"/>
                <a:gd name="T31" fmla="*/ 74 h 79"/>
                <a:gd name="T32" fmla="*/ 0 w 91"/>
                <a:gd name="T33" fmla="*/ 79 h 79"/>
                <a:gd name="T34" fmla="*/ 23 w 91"/>
                <a:gd name="T35" fmla="*/ 79 h 79"/>
                <a:gd name="T36" fmla="*/ 23 w 91"/>
                <a:gd name="T37" fmla="*/ 74 h 79"/>
                <a:gd name="T38" fmla="*/ 16 w 91"/>
                <a:gd name="T39" fmla="*/ 71 h 79"/>
                <a:gd name="T40" fmla="*/ 15 w 91"/>
                <a:gd name="T41" fmla="*/ 61 h 79"/>
                <a:gd name="T42" fmla="*/ 17 w 91"/>
                <a:gd name="T43" fmla="*/ 17 h 79"/>
                <a:gd name="T44" fmla="*/ 40 w 91"/>
                <a:gd name="T45" fmla="*/ 79 h 79"/>
                <a:gd name="T46" fmla="*/ 43 w 91"/>
                <a:gd name="T47" fmla="*/ 79 h 79"/>
                <a:gd name="T48" fmla="*/ 66 w 91"/>
                <a:gd name="T49" fmla="*/ 15 h 79"/>
                <a:gd name="T50" fmla="*/ 68 w 91"/>
                <a:gd name="T51" fmla="*/ 59 h 79"/>
                <a:gd name="T52" fmla="*/ 68 w 91"/>
                <a:gd name="T53" fmla="*/ 65 h 79"/>
                <a:gd name="T54" fmla="*/ 60 w 91"/>
                <a:gd name="T55" fmla="*/ 74 h 79"/>
                <a:gd name="T56" fmla="*/ 59 w 91"/>
                <a:gd name="T57" fmla="*/ 74 h 79"/>
                <a:gd name="T58" fmla="*/ 59 w 91"/>
                <a:gd name="T59" fmla="*/ 79 h 79"/>
                <a:gd name="T60" fmla="*/ 91 w 91"/>
                <a:gd name="T61" fmla="*/ 79 h 79"/>
                <a:gd name="T62" fmla="*/ 91 w 91"/>
                <a:gd name="T63" fmla="*/ 74 h 79"/>
                <a:gd name="T64" fmla="*/ 84 w 91"/>
                <a:gd name="T65" fmla="*/ 71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" h="79">
                  <a:moveTo>
                    <a:pt x="84" y="71"/>
                  </a:moveTo>
                  <a:cubicBezTo>
                    <a:pt x="82" y="70"/>
                    <a:pt x="82" y="67"/>
                    <a:pt x="82" y="61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79" y="10"/>
                    <a:pt x="79" y="8"/>
                    <a:pt x="80" y="7"/>
                  </a:cubicBezTo>
                  <a:cubicBezTo>
                    <a:pt x="80" y="6"/>
                    <a:pt x="83" y="5"/>
                    <a:pt x="87" y="5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8" y="6"/>
                    <a:pt x="10" y="6"/>
                    <a:pt x="10" y="7"/>
                  </a:cubicBezTo>
                  <a:cubicBezTo>
                    <a:pt x="11" y="8"/>
                    <a:pt x="12" y="11"/>
                    <a:pt x="12" y="15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9" y="66"/>
                    <a:pt x="9" y="70"/>
                    <a:pt x="8" y="71"/>
                  </a:cubicBezTo>
                  <a:cubicBezTo>
                    <a:pt x="7" y="73"/>
                    <a:pt x="4" y="74"/>
                    <a:pt x="0" y="7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4"/>
                    <a:pt x="23" y="74"/>
                    <a:pt x="23" y="74"/>
                  </a:cubicBezTo>
                  <a:cubicBezTo>
                    <a:pt x="19" y="74"/>
                    <a:pt x="17" y="73"/>
                    <a:pt x="16" y="71"/>
                  </a:cubicBezTo>
                  <a:cubicBezTo>
                    <a:pt x="15" y="70"/>
                    <a:pt x="15" y="67"/>
                    <a:pt x="15" y="61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8" y="61"/>
                    <a:pt x="68" y="63"/>
                    <a:pt x="68" y="65"/>
                  </a:cubicBezTo>
                  <a:cubicBezTo>
                    <a:pt x="69" y="71"/>
                    <a:pt x="66" y="74"/>
                    <a:pt x="60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9"/>
                    <a:pt x="59" y="79"/>
                    <a:pt x="59" y="79"/>
                  </a:cubicBezTo>
                  <a:cubicBezTo>
                    <a:pt x="91" y="79"/>
                    <a:pt x="91" y="79"/>
                    <a:pt x="91" y="79"/>
                  </a:cubicBezTo>
                  <a:cubicBezTo>
                    <a:pt x="91" y="74"/>
                    <a:pt x="91" y="74"/>
                    <a:pt x="91" y="74"/>
                  </a:cubicBezTo>
                  <a:cubicBezTo>
                    <a:pt x="87" y="73"/>
                    <a:pt x="84" y="72"/>
                    <a:pt x="84" y="71"/>
                  </a:cubicBezTo>
                  <a:close/>
                </a:path>
              </a:pathLst>
            </a:custGeom>
            <a:solidFill>
              <a:srgbClr val="0C3B5D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$]25B0J$CJV0H%U{Z%7D4QY"/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0" y="506095"/>
            <a:ext cx="7291705" cy="6351905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289" y="1"/>
            <a:ext cx="10850563" cy="1028699"/>
          </a:xfrm>
        </p:spPr>
        <p:txBody>
          <a:bodyPr/>
          <a:lstStyle/>
          <a:p>
            <a:r>
              <a:rPr lang="zh-CN" altLang="en-US"/>
              <a:t>背景介绍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</a:t>
            </a:fld>
            <a:endParaRPr lang="zh-CN" altLang="en-US"/>
          </a:p>
        </p:txBody>
      </p:sp>
      <p:sp>
        <p:nvSpPr>
          <p:cNvPr id="8" name="矩形 7"/>
          <p:cNvSpPr/>
          <p:nvPr/>
        </p:nvSpPr>
        <p:spPr>
          <a:xfrm>
            <a:off x="9584690" y="329565"/>
            <a:ext cx="2170430" cy="62865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15" name="图示 14"/>
          <p:cNvGraphicFramePr/>
          <p:nvPr/>
        </p:nvGraphicFramePr>
        <p:xfrm>
          <a:off x="862330" y="765175"/>
          <a:ext cx="10351770" cy="62166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2990850" y="4238625"/>
            <a:ext cx="2667000" cy="2446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zh-CN" sz="1800" dirty="0">
                <a:effectLst/>
              </a:rPr>
              <a:t>登陆系统         提交程序代码        系统后台对程序进行编译和执行        </a:t>
            </a:r>
            <a:r>
              <a:rPr lang="en-US" altLang="zh-CN" sz="1800" dirty="0">
                <a:effectLst/>
              </a:rPr>
              <a:t>         </a:t>
            </a:r>
            <a:r>
              <a:rPr lang="zh-CN" altLang="zh-CN" sz="1800" dirty="0">
                <a:effectLst/>
              </a:rPr>
              <a:t>比对结果与答案，査看程序的正确性</a:t>
            </a:r>
          </a:p>
          <a:p>
            <a:endParaRPr lang="zh-CN" altLang="en-US" dirty="0"/>
          </a:p>
        </p:txBody>
      </p:sp>
      <p:sp>
        <p:nvSpPr>
          <p:cNvPr id="11" name="右箭头 15"/>
          <p:cNvSpPr/>
          <p:nvPr/>
        </p:nvSpPr>
        <p:spPr>
          <a:xfrm>
            <a:off x="4100605" y="4400698"/>
            <a:ext cx="393700" cy="192405"/>
          </a:xfrm>
          <a:prstGeom prst="righ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右箭头 15"/>
          <p:cNvSpPr/>
          <p:nvPr/>
        </p:nvSpPr>
        <p:spPr>
          <a:xfrm>
            <a:off x="3568700" y="4878704"/>
            <a:ext cx="393700" cy="192405"/>
          </a:xfrm>
          <a:prstGeom prst="righ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9" name="右箭头 15"/>
          <p:cNvSpPr/>
          <p:nvPr/>
        </p:nvSpPr>
        <p:spPr>
          <a:xfrm>
            <a:off x="4987925" y="5219700"/>
            <a:ext cx="393700" cy="204237"/>
          </a:xfrm>
          <a:prstGeom prst="righ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7" name="文本框 6"/>
          <p:cNvSpPr txBox="1"/>
          <p:nvPr/>
        </p:nvSpPr>
        <p:spPr>
          <a:xfrm>
            <a:off x="8304212" y="2652732"/>
            <a:ext cx="2909888" cy="23221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ct val="0"/>
              </a:spcBef>
              <a:spcAft>
                <a:spcPct val="35000"/>
              </a:spcAft>
            </a:pPr>
            <a:r>
              <a:rPr lang="zh-CN" altLang="en-US" sz="1800" dirty="0"/>
              <a:t>现有编程在线测评系统存在的不足：</a:t>
            </a:r>
          </a:p>
          <a:p>
            <a:pPr lvl="0">
              <a:spcBef>
                <a:spcPct val="0"/>
              </a:spcBef>
              <a:spcAft>
                <a:spcPct val="35000"/>
              </a:spcAft>
            </a:pPr>
            <a:r>
              <a:rPr lang="en-US" altLang="zh-CN" sz="1800" dirty="0"/>
              <a:t>1.</a:t>
            </a:r>
            <a:r>
              <a:rPr lang="zh-CN" altLang="en-US" sz="1800" dirty="0"/>
              <a:t>缺少对作弊行为的检测机制。</a:t>
            </a:r>
          </a:p>
          <a:p>
            <a:pPr lvl="0">
              <a:spcBef>
                <a:spcPct val="0"/>
              </a:spcBef>
              <a:spcAft>
                <a:spcPct val="35000"/>
              </a:spcAft>
            </a:pPr>
            <a:r>
              <a:rPr lang="en-US" altLang="zh-CN" sz="1800" dirty="0"/>
              <a:t>2.</a:t>
            </a:r>
            <a:r>
              <a:rPr lang="zh-CN" altLang="en-US" sz="1800" dirty="0"/>
              <a:t>给学生提供的反馈只有分数信息，过于单调</a:t>
            </a:r>
            <a:endParaRPr lang="zh-CN" altLang="en-US" dirty="0"/>
          </a:p>
          <a:p>
            <a:endParaRPr lang="zh-CN" altLang="en-US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项目简介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66721E-3A9A-4832-9C70-956D5CCCFC40}" type="datetime1">
              <a:rPr lang="zh-CN" altLang="en-US" smtClean="0"/>
              <a:t>2021/9/2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中国石油大学专属答辩</a:t>
            </a:r>
            <a:r>
              <a:rPr lang="en-US" altLang="zh-CN"/>
              <a:t>PPT</a:t>
            </a:r>
            <a:r>
              <a:rPr lang="zh-CN" altLang="en-US"/>
              <a:t>模板</a:t>
            </a:r>
            <a:endParaRPr lang="zh-CN" altLang="en-US" dirty="0"/>
          </a:p>
        </p:txBody>
      </p:sp>
      <p:sp>
        <p:nvSpPr>
          <p:cNvPr id="18" name="矩形 17"/>
          <p:cNvSpPr/>
          <p:nvPr/>
        </p:nvSpPr>
        <p:spPr>
          <a:xfrm>
            <a:off x="273685" y="6108700"/>
            <a:ext cx="3468370" cy="47117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9584690" y="318770"/>
            <a:ext cx="2170430" cy="62865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îŝliḓe"/>
          <p:cNvSpPr/>
          <p:nvPr/>
        </p:nvSpPr>
        <p:spPr bwMode="auto">
          <a:xfrm>
            <a:off x="69215" y="1402715"/>
            <a:ext cx="6851015" cy="5045075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anchor="t" anchorCtr="0">
            <a:noAutofit/>
          </a:bodyPr>
          <a:lstStyle/>
          <a:p>
            <a:pPr lvl="1">
              <a:lnSpc>
                <a:spcPct val="150000"/>
              </a:lnSpc>
            </a:pPr>
            <a:r>
              <a:rPr lang="en-US" sz="2400" dirty="0">
                <a:solidFill>
                  <a:schemeClr val="bg1">
                    <a:lumMod val="50000"/>
                  </a:schemeClr>
                </a:solidFill>
              </a:rPr>
              <a:t>	</a:t>
            </a:r>
            <a:r>
              <a:rPr sz="2400" dirty="0">
                <a:solidFill>
                  <a:schemeClr val="bg1">
                    <a:lumMod val="50000"/>
                  </a:schemeClr>
                </a:solidFill>
              </a:rPr>
              <a:t>本作品在传统在线测试平台（onlinejudge）中融入</a:t>
            </a:r>
            <a:r>
              <a:rPr sz="2400" b="1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智能元素</a:t>
            </a:r>
            <a:r>
              <a:rPr sz="2400" dirty="0">
                <a:solidFill>
                  <a:schemeClr val="bg1">
                    <a:lumMod val="50000"/>
                  </a:schemeClr>
                </a:solidFill>
              </a:rPr>
              <a:t>，实现了题目发布管理、在线判题、成绩管理与分析、作弊检测、智能推荐等功能。能很好地支撑高校教学过程中的作业发布与质量检测环节。</a:t>
            </a:r>
          </a:p>
          <a:p>
            <a:pPr lvl="1">
              <a:lnSpc>
                <a:spcPct val="150000"/>
              </a:lnSpc>
            </a:pPr>
            <a:endParaRPr sz="2400" dirty="0">
              <a:solidFill>
                <a:schemeClr val="bg1">
                  <a:lumMod val="50000"/>
                </a:schemeClr>
              </a:solidFill>
            </a:endParaRPr>
          </a:p>
          <a:p>
            <a:pPr lvl="1">
              <a:lnSpc>
                <a:spcPct val="150000"/>
              </a:lnSpc>
            </a:pPr>
            <a:r>
              <a:rPr lang="en-US" sz="2400" dirty="0">
                <a:solidFill>
                  <a:schemeClr val="bg1">
                    <a:lumMod val="50000"/>
                  </a:schemeClr>
                </a:solidFill>
              </a:rPr>
              <a:t>	</a:t>
            </a:r>
            <a:r>
              <a:rPr sz="2400" dirty="0">
                <a:solidFill>
                  <a:schemeClr val="bg1">
                    <a:lumMod val="50000"/>
                  </a:schemeClr>
                </a:solidFill>
              </a:rPr>
              <a:t>本项目使用多种编程语言，涉及web开发技术（前端、后端）、人工智能技术（人脸识别、推荐系统）、docker容器化等多种技术。</a:t>
            </a:r>
          </a:p>
        </p:txBody>
      </p:sp>
      <p:graphicFrame>
        <p:nvGraphicFramePr>
          <p:cNvPr id="17" name="图示 16"/>
          <p:cNvGraphicFramePr/>
          <p:nvPr/>
        </p:nvGraphicFramePr>
        <p:xfrm>
          <a:off x="5859145" y="1724660"/>
          <a:ext cx="7044690" cy="52692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0" name="矩形 19"/>
          <p:cNvSpPr/>
          <p:nvPr/>
        </p:nvSpPr>
        <p:spPr>
          <a:xfrm>
            <a:off x="7049135" y="1028700"/>
            <a:ext cx="4664075" cy="922020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spAutoFit/>
          </a:bodyPr>
          <a:lstStyle/>
          <a:p>
            <a:pPr algn="dist"/>
            <a:r>
              <a:rPr lang="zh-CN" altLang="en-US" sz="54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五大模块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455930" y="1148715"/>
            <a:ext cx="8442325" cy="5484495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一、题目发布与测试案例管理编辑模块</a:t>
            </a:r>
          </a:p>
        </p:txBody>
      </p:sp>
      <p:sp>
        <p:nvSpPr>
          <p:cNvPr id="3" name="矩形 2"/>
          <p:cNvSpPr/>
          <p:nvPr/>
        </p:nvSpPr>
        <p:spPr>
          <a:xfrm>
            <a:off x="9492615" y="339725"/>
            <a:ext cx="2170430" cy="62865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左箭头标注 6"/>
          <p:cNvSpPr/>
          <p:nvPr/>
        </p:nvSpPr>
        <p:spPr>
          <a:xfrm>
            <a:off x="8698230" y="4047490"/>
            <a:ext cx="3242945" cy="1401445"/>
          </a:xfrm>
          <a:prstGeom prst="leftArrowCallout">
            <a:avLst>
              <a:gd name="adj1" fmla="val 15813"/>
              <a:gd name="adj2" fmla="val 20412"/>
              <a:gd name="adj3" fmla="val 25000"/>
              <a:gd name="adj4" fmla="val 83473"/>
            </a:avLst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左箭头标注 7"/>
          <p:cNvSpPr/>
          <p:nvPr/>
        </p:nvSpPr>
        <p:spPr>
          <a:xfrm>
            <a:off x="8698230" y="2260600"/>
            <a:ext cx="3242945" cy="1401445"/>
          </a:xfrm>
          <a:prstGeom prst="leftArrowCallout">
            <a:avLst>
              <a:gd name="adj1" fmla="val 15813"/>
              <a:gd name="adj2" fmla="val 20412"/>
              <a:gd name="adj3" fmla="val 25000"/>
              <a:gd name="adj4" fmla="val 83473"/>
            </a:avLst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9289415" y="2474595"/>
            <a:ext cx="25774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2400" dirty="0">
                <a:solidFill>
                  <a:schemeClr val="bg1"/>
                </a:solidFill>
              </a:rPr>
              <a:t>选择</a:t>
            </a:r>
            <a:r>
              <a:rPr lang="en-US" altLang="zh-CN" sz="2400" dirty="0">
                <a:solidFill>
                  <a:schemeClr val="bg1"/>
                </a:solidFill>
                <a:sym typeface="+mn-ea"/>
              </a:rPr>
              <a:t>题型</a:t>
            </a:r>
            <a:r>
              <a:rPr lang="zh-CN" altLang="en-US" sz="2400" dirty="0">
                <a:solidFill>
                  <a:schemeClr val="bg1"/>
                </a:solidFill>
                <a:sym typeface="+mn-ea"/>
              </a:rPr>
              <a:t>：</a:t>
            </a:r>
            <a:r>
              <a:rPr lang="en-US" altLang="zh-CN" sz="2400" dirty="0">
                <a:solidFill>
                  <a:schemeClr val="bg1"/>
                </a:solidFill>
              </a:rPr>
              <a:t>“普通编程题”和“选择题”</a:t>
            </a:r>
          </a:p>
          <a:p>
            <a:pPr algn="l"/>
            <a:endParaRPr lang="en-US" altLang="zh-CN" sz="2400" dirty="0">
              <a:solidFill>
                <a:schemeClr val="bg1"/>
              </a:solidFill>
            </a:endParaRPr>
          </a:p>
          <a:p>
            <a:pPr algn="l"/>
            <a:endParaRPr lang="en-US" altLang="zh-CN" sz="2400" dirty="0">
              <a:solidFill>
                <a:schemeClr val="bg1"/>
              </a:solidFill>
            </a:endParaRPr>
          </a:p>
          <a:p>
            <a:pPr algn="l"/>
            <a:endParaRPr lang="en-US" altLang="zh-CN" sz="2400" dirty="0">
              <a:solidFill>
                <a:schemeClr val="bg1"/>
              </a:solidFill>
            </a:endParaRPr>
          </a:p>
          <a:p>
            <a:pPr algn="l"/>
            <a:r>
              <a:rPr lang="zh-CN" altLang="en-US" sz="2400" dirty="0">
                <a:solidFill>
                  <a:schemeClr val="bg1"/>
                </a:solidFill>
              </a:rPr>
              <a:t>增加</a:t>
            </a:r>
            <a:r>
              <a:rPr lang="en-US" altLang="zh-CN" sz="2400" dirty="0">
                <a:solidFill>
                  <a:schemeClr val="bg1"/>
                </a:solidFill>
              </a:rPr>
              <a:t>知识点，课程等信息。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一、题目发布与测试案例管理编辑模块</a:t>
            </a:r>
          </a:p>
        </p:txBody>
      </p:sp>
      <p:sp>
        <p:nvSpPr>
          <p:cNvPr id="3" name="矩形 2"/>
          <p:cNvSpPr/>
          <p:nvPr/>
        </p:nvSpPr>
        <p:spPr>
          <a:xfrm>
            <a:off x="9492615" y="339725"/>
            <a:ext cx="2170430" cy="62865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50685" y="1458595"/>
            <a:ext cx="5005705" cy="508063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870" y="1206500"/>
            <a:ext cx="6335395" cy="5089525"/>
          </a:xfrm>
          <a:prstGeom prst="rect">
            <a:avLst/>
          </a:prstGeom>
        </p:spPr>
      </p:pic>
      <p:sp>
        <p:nvSpPr>
          <p:cNvPr id="12" name="圆角矩形 11"/>
          <p:cNvSpPr/>
          <p:nvPr/>
        </p:nvSpPr>
        <p:spPr>
          <a:xfrm>
            <a:off x="6132830" y="5735320"/>
            <a:ext cx="4570730" cy="70675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6224270" y="5928360"/>
            <a:ext cx="40690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/>
              <a:t>提交后可对已发布的题目进行再次编辑</a:t>
            </a:r>
          </a:p>
        </p:txBody>
      </p:sp>
      <p:sp>
        <p:nvSpPr>
          <p:cNvPr id="10" name="矩形 9"/>
          <p:cNvSpPr/>
          <p:nvPr/>
        </p:nvSpPr>
        <p:spPr>
          <a:xfrm>
            <a:off x="3275330" y="5761355"/>
            <a:ext cx="995045" cy="535305"/>
          </a:xfrm>
          <a:prstGeom prst="rect">
            <a:avLst/>
          </a:prstGeom>
          <a:noFill/>
          <a:ln w="38100"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左大括号 3"/>
          <p:cNvSpPr/>
          <p:nvPr/>
        </p:nvSpPr>
        <p:spPr>
          <a:xfrm>
            <a:off x="6292215" y="3571240"/>
            <a:ext cx="373380" cy="1974850"/>
          </a:xfrm>
          <a:prstGeom prst="leftBrac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圆角矩形 4"/>
          <p:cNvSpPr/>
          <p:nvPr/>
        </p:nvSpPr>
        <p:spPr>
          <a:xfrm>
            <a:off x="3393440" y="3945890"/>
            <a:ext cx="2771140" cy="106362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文本框 6"/>
          <p:cNvSpPr txBox="1"/>
          <p:nvPr/>
        </p:nvSpPr>
        <p:spPr>
          <a:xfrm>
            <a:off x="3510915" y="4087495"/>
            <a:ext cx="2536190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多个测试案例，避免偶然事件造成评测结果不准确</a:t>
            </a:r>
          </a:p>
        </p:txBody>
      </p:sp>
      <p:sp>
        <p:nvSpPr>
          <p:cNvPr id="13" name="右箭头 12"/>
          <p:cNvSpPr/>
          <p:nvPr/>
        </p:nvSpPr>
        <p:spPr>
          <a:xfrm>
            <a:off x="4549140" y="6050915"/>
            <a:ext cx="1497965" cy="75565"/>
          </a:xfrm>
          <a:prstGeom prst="rightArrow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右箭头 13"/>
          <p:cNvSpPr/>
          <p:nvPr/>
        </p:nvSpPr>
        <p:spPr>
          <a:xfrm>
            <a:off x="5167630" y="3307080"/>
            <a:ext cx="1497965" cy="75565"/>
          </a:xfrm>
          <a:prstGeom prst="rightArrow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8688070" y="1906905"/>
            <a:ext cx="237299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测试案例编辑页面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2692400" y="1653540"/>
            <a:ext cx="216090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题目发布页面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5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9" grpId="0"/>
      <p:bldP spid="10" grpId="0" animBg="1"/>
      <p:bldP spid="4" grpId="0" animBg="1"/>
      <p:bldP spid="5" grpId="0" animBg="1"/>
      <p:bldP spid="7" grpId="0"/>
      <p:bldP spid="1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在线答题与判题模块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66721E-3A9A-4832-9C70-956D5CCCFC40}" type="datetime1">
              <a:rPr lang="zh-CN" altLang="en-US" smtClean="0"/>
              <a:t>2021/9/2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中国石油大学专属答辩</a:t>
            </a:r>
            <a:r>
              <a:rPr lang="en-US" altLang="zh-CN"/>
              <a:t>PPT</a:t>
            </a:r>
            <a:r>
              <a:rPr lang="zh-CN" altLang="en-US"/>
              <a:t>模板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7</a:t>
            </a:fld>
            <a:endParaRPr lang="zh-CN" altLang="en-US"/>
          </a:p>
        </p:txBody>
      </p:sp>
      <p:pic>
        <p:nvPicPr>
          <p:cNvPr id="6" name="图片 5" descr="%JXG3L~]UJ2%]M@_H247$5I"/>
          <p:cNvPicPr>
            <a:picLocks noChangeAspect="1"/>
          </p:cNvPicPr>
          <p:nvPr/>
        </p:nvPicPr>
        <p:blipFill>
          <a:blip r:embed="rId2"/>
          <a:srcRect t="11940"/>
          <a:stretch>
            <a:fillRect/>
          </a:stretch>
        </p:blipFill>
        <p:spPr>
          <a:xfrm>
            <a:off x="395605" y="1184910"/>
            <a:ext cx="4821555" cy="3081655"/>
          </a:xfrm>
          <a:prstGeom prst="rect">
            <a:avLst/>
          </a:prstGeom>
        </p:spPr>
      </p:pic>
      <p:pic>
        <p:nvPicPr>
          <p:cNvPr id="7" name="图片 6" descr="RJ1TA5L}Y@A_7)[_H0KG3WQ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6625" y="1796415"/>
            <a:ext cx="5402580" cy="3090545"/>
          </a:xfrm>
          <a:prstGeom prst="rect">
            <a:avLst/>
          </a:prstGeom>
        </p:spPr>
      </p:pic>
      <p:pic>
        <p:nvPicPr>
          <p:cNvPr id="10" name="图片 9" descr="Z8I2E}[$2S9H7J)Y(OX55IP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48175" y="2557145"/>
            <a:ext cx="5535295" cy="3969385"/>
          </a:xfrm>
          <a:prstGeom prst="rect">
            <a:avLst/>
          </a:prstGeom>
        </p:spPr>
      </p:pic>
      <p:pic>
        <p:nvPicPr>
          <p:cNvPr id="11" name="图片 10" descr="7U2`A1(WB~{SV@_{2IRH6H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90055" y="3870960"/>
            <a:ext cx="4934585" cy="257619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8619490" y="2028190"/>
            <a:ext cx="310515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/>
              <a:t>提交答案后判题机在后台判题，前台可获得分数。</a:t>
            </a:r>
          </a:p>
        </p:txBody>
      </p:sp>
      <p:sp>
        <p:nvSpPr>
          <p:cNvPr id="13" name="上弧形箭头 12"/>
          <p:cNvSpPr/>
          <p:nvPr/>
        </p:nvSpPr>
        <p:spPr>
          <a:xfrm rot="1680000">
            <a:off x="5177155" y="1069340"/>
            <a:ext cx="1216660" cy="590550"/>
          </a:xfrm>
          <a:prstGeom prst="curved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4" name="上弧形箭头 13"/>
          <p:cNvSpPr/>
          <p:nvPr/>
        </p:nvSpPr>
        <p:spPr>
          <a:xfrm rot="1860000">
            <a:off x="7036435" y="2172335"/>
            <a:ext cx="1216660" cy="590550"/>
          </a:xfrm>
          <a:prstGeom prst="curved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5" name="上弧形箭头 14"/>
          <p:cNvSpPr/>
          <p:nvPr/>
        </p:nvSpPr>
        <p:spPr>
          <a:xfrm rot="1500000">
            <a:off x="9457055" y="2950210"/>
            <a:ext cx="1216660" cy="590550"/>
          </a:xfrm>
          <a:prstGeom prst="curved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1048385" y="4594860"/>
            <a:ext cx="33832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>
                <a:sym typeface="+mn-ea"/>
              </a:rPr>
              <a:t>学生可以登录本平台在线答题，</a:t>
            </a:r>
          </a:p>
          <a:p>
            <a:pPr algn="l"/>
            <a:r>
              <a:rPr lang="zh-CN" altLang="en-US">
                <a:sym typeface="+mn-ea"/>
              </a:rPr>
              <a:t>选择一道题目进入。</a:t>
            </a:r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2913380" y="4886960"/>
            <a:ext cx="2982595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进行摄像头权限请求，同意后方可作答题目，以便进行作弊检测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6640195" y="1184910"/>
            <a:ext cx="2150745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展示作答分数以及在答题过程中的随机拍摄照片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5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3" presetClass="entr" presetSubtype="5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3" presetClass="entr" presetSubtype="5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3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 animBg="1"/>
      <p:bldP spid="14" grpId="0" animBg="1"/>
      <p:bldP spid="15" grpId="0" animBg="1"/>
      <p:bldP spid="16" grpId="1"/>
      <p:bldP spid="8" grpId="0"/>
      <p:bldP spid="8" grpId="3"/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图片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1945" y="1191260"/>
            <a:ext cx="4965065" cy="2103755"/>
          </a:xfrm>
          <a:prstGeom prst="rect">
            <a:avLst/>
          </a:prstGeom>
        </p:spPr>
      </p:pic>
      <p:sp>
        <p:nvSpPr>
          <p:cNvPr id="12" name="圆角矩形 11"/>
          <p:cNvSpPr/>
          <p:nvPr/>
        </p:nvSpPr>
        <p:spPr>
          <a:xfrm>
            <a:off x="9898380" y="1322070"/>
            <a:ext cx="2219960" cy="223774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圆角矩形 5"/>
          <p:cNvSpPr/>
          <p:nvPr/>
        </p:nvSpPr>
        <p:spPr>
          <a:xfrm>
            <a:off x="10547985" y="3636010"/>
            <a:ext cx="1470660" cy="307340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71194" y="1"/>
            <a:ext cx="10850563" cy="1028699"/>
          </a:xfrm>
        </p:spPr>
        <p:txBody>
          <a:bodyPr/>
          <a:lstStyle/>
          <a:p>
            <a:r>
              <a:rPr lang="zh-CN" altLang="en-US"/>
              <a:t>三、教师与课程管理模块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66721E-3A9A-4832-9C70-956D5CCCFC40}" type="datetime1">
              <a:rPr lang="zh-CN" altLang="en-US" smtClean="0"/>
              <a:t>2021/9/2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中国石油大学专属答辩</a:t>
            </a:r>
            <a:r>
              <a:rPr lang="en-US" altLang="zh-CN"/>
              <a:t>PPT</a:t>
            </a:r>
            <a:r>
              <a:rPr lang="zh-CN" altLang="en-US"/>
              <a:t>模板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8</a:t>
            </a:fld>
            <a:endParaRPr lang="zh-CN" altLang="en-US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5" y="1424305"/>
            <a:ext cx="4271010" cy="310007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8690610" y="1028700"/>
            <a:ext cx="248602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sym typeface="+mn-ea"/>
              </a:rPr>
              <a:t>教师</a:t>
            </a:r>
            <a:r>
              <a:rPr lang="zh-CN" altLang="en-US" sz="2800"/>
              <a:t>管理界面</a:t>
            </a:r>
          </a:p>
        </p:txBody>
      </p:sp>
      <p:sp>
        <p:nvSpPr>
          <p:cNvPr id="18" name="右箭头 17"/>
          <p:cNvSpPr/>
          <p:nvPr/>
        </p:nvSpPr>
        <p:spPr>
          <a:xfrm rot="20640000">
            <a:off x="4400550" y="2225040"/>
            <a:ext cx="1680845" cy="46101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文本框 18"/>
          <p:cNvSpPr txBox="1"/>
          <p:nvPr/>
        </p:nvSpPr>
        <p:spPr>
          <a:xfrm>
            <a:off x="9993630" y="1802130"/>
            <a:ext cx="43370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/>
              <a:t>学生分组</a:t>
            </a:r>
          </a:p>
        </p:txBody>
      </p:sp>
      <p:pic>
        <p:nvPicPr>
          <p:cNvPr id="8" name="图片 7" descr="BNX5XO[]P[~`(RH2}L3MQ7E"/>
          <p:cNvPicPr>
            <a:picLocks noChangeAspect="1"/>
          </p:cNvPicPr>
          <p:nvPr/>
        </p:nvPicPr>
        <p:blipFill>
          <a:blip r:embed="rId4"/>
          <a:srcRect l="8182" t="12991" r="8193"/>
          <a:stretch>
            <a:fillRect/>
          </a:stretch>
        </p:blipFill>
        <p:spPr>
          <a:xfrm>
            <a:off x="5626735" y="3925570"/>
            <a:ext cx="4718050" cy="2445385"/>
          </a:xfrm>
          <a:prstGeom prst="rect">
            <a:avLst/>
          </a:prstGeom>
        </p:spPr>
      </p:pic>
      <p:sp>
        <p:nvSpPr>
          <p:cNvPr id="14" name="右箭头 13"/>
          <p:cNvSpPr/>
          <p:nvPr/>
        </p:nvSpPr>
        <p:spPr>
          <a:xfrm rot="1560000">
            <a:off x="4359275" y="3980815"/>
            <a:ext cx="1680845" cy="46101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文本框 15"/>
          <p:cNvSpPr txBox="1"/>
          <p:nvPr/>
        </p:nvSpPr>
        <p:spPr>
          <a:xfrm>
            <a:off x="10541000" y="4064000"/>
            <a:ext cx="48450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/>
              <a:t>学生成绩查询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11064875" y="3742055"/>
            <a:ext cx="436245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自动按分数进行排序</a:t>
            </a:r>
          </a:p>
          <a:p>
            <a:r>
              <a:rPr lang="zh-CN" altLang="en-US"/>
              <a:t>，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11520805" y="3812540"/>
            <a:ext cx="38544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>
                <a:sym typeface="+mn-ea"/>
              </a:rPr>
              <a:t>避免了二次处理</a:t>
            </a:r>
            <a:endParaRPr lang="zh-CN" altLang="en-US"/>
          </a:p>
          <a:p>
            <a:endParaRPr lang="zh-CN" altLang="en-US"/>
          </a:p>
        </p:txBody>
      </p:sp>
      <p:sp>
        <p:nvSpPr>
          <p:cNvPr id="13" name="文本框 12"/>
          <p:cNvSpPr txBox="1"/>
          <p:nvPr/>
        </p:nvSpPr>
        <p:spPr>
          <a:xfrm>
            <a:off x="10427335" y="1424305"/>
            <a:ext cx="436880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教师后续可按照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0700385" y="1440180"/>
            <a:ext cx="325120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>
                <a:sym typeface="+mn-ea"/>
              </a:rPr>
              <a:t>分组进行打分</a:t>
            </a:r>
          </a:p>
          <a:p>
            <a:r>
              <a:rPr lang="zh-CN" altLang="en-US">
                <a:sym typeface="+mn-ea"/>
              </a:rPr>
              <a:t>，</a:t>
            </a:r>
            <a:endParaRPr lang="zh-CN" altLang="en-US"/>
          </a:p>
        </p:txBody>
      </p:sp>
      <p:sp>
        <p:nvSpPr>
          <p:cNvPr id="20" name="文本框 19"/>
          <p:cNvSpPr txBox="1"/>
          <p:nvPr/>
        </p:nvSpPr>
        <p:spPr>
          <a:xfrm>
            <a:off x="10964545" y="1424305"/>
            <a:ext cx="283845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>
                <a:sym typeface="+mn-ea"/>
              </a:rPr>
              <a:t>或</a:t>
            </a:r>
            <a:endParaRPr lang="zh-CN" altLang="en-US"/>
          </a:p>
          <a:p>
            <a:r>
              <a:rPr lang="zh-CN" altLang="en-US">
                <a:sym typeface="+mn-ea"/>
              </a:rPr>
              <a:t>对不同小组发</a:t>
            </a:r>
            <a:endParaRPr lang="zh-CN" altLang="en-US"/>
          </a:p>
        </p:txBody>
      </p:sp>
      <p:sp>
        <p:nvSpPr>
          <p:cNvPr id="21" name="文本框 20"/>
          <p:cNvSpPr txBox="1"/>
          <p:nvPr/>
        </p:nvSpPr>
        <p:spPr>
          <a:xfrm>
            <a:off x="11248390" y="1440180"/>
            <a:ext cx="39560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>
                <a:sym typeface="+mn-ea"/>
              </a:rPr>
              <a:t>布有针对性的题</a:t>
            </a:r>
            <a:endParaRPr lang="zh-CN" altLang="en-US"/>
          </a:p>
          <a:p>
            <a:endParaRPr lang="zh-CN" altLang="en-US"/>
          </a:p>
        </p:txBody>
      </p:sp>
      <p:sp>
        <p:nvSpPr>
          <p:cNvPr id="22" name="文本框 21"/>
          <p:cNvSpPr txBox="1"/>
          <p:nvPr/>
        </p:nvSpPr>
        <p:spPr>
          <a:xfrm>
            <a:off x="11522075" y="1440180"/>
            <a:ext cx="212725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>
                <a:sym typeface="+mn-ea"/>
              </a:rPr>
              <a:t>目</a:t>
            </a:r>
          </a:p>
          <a:p>
            <a:r>
              <a:rPr lang="zh-CN" altLang="en-US">
                <a:sym typeface="+mn-ea"/>
              </a:rPr>
              <a:t>。</a:t>
            </a:r>
            <a:endParaRPr lang="zh-CN" altLang="en-US"/>
          </a:p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2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3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3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3" presetClass="entr" presetSubtype="5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3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4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4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4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5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5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6" grpId="0" animBg="1"/>
      <p:bldP spid="11" grpId="0"/>
      <p:bldP spid="18" grpId="0" bldLvl="0" animBg="1"/>
      <p:bldP spid="19" grpId="0"/>
      <p:bldP spid="14" grpId="0" animBg="1"/>
      <p:bldP spid="16" grpId="0"/>
      <p:bldP spid="7" grpId="0"/>
      <p:bldP spid="10" grpId="0"/>
      <p:bldP spid="13" grpId="0"/>
      <p:bldP spid="15" grpId="0"/>
      <p:bldP spid="20" grpId="0"/>
      <p:bldP spid="21" grpId="0"/>
      <p:bldP spid="2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三、教师与课程管理模块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66721E-3A9A-4832-9C70-956D5CCCFC40}" type="datetime1">
              <a:rPr lang="zh-CN" altLang="en-US" smtClean="0"/>
              <a:t>2021/9/2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中国石油大学专属答辩</a:t>
            </a:r>
            <a:r>
              <a:rPr lang="en-US" altLang="zh-CN"/>
              <a:t>PPT</a:t>
            </a:r>
            <a:r>
              <a:rPr lang="zh-CN" altLang="en-US"/>
              <a:t>模板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9</a:t>
            </a:fld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8680450" y="1067435"/>
            <a:ext cx="248602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/>
              <a:t>学生管理界面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375" y="1137285"/>
            <a:ext cx="4812665" cy="2359660"/>
          </a:xfrm>
          <a:prstGeom prst="rect">
            <a:avLst/>
          </a:prstGeom>
        </p:spPr>
      </p:pic>
      <p:pic>
        <p:nvPicPr>
          <p:cNvPr id="11" name="图片 10" descr="{TUQVYI07T5{7RL_21HZ)`C"/>
          <p:cNvPicPr>
            <a:picLocks noChangeAspect="1"/>
          </p:cNvPicPr>
          <p:nvPr/>
        </p:nvPicPr>
        <p:blipFill>
          <a:blip r:embed="rId3"/>
          <a:srcRect l="21174" t="23481" r="16323" b="29214"/>
          <a:stretch>
            <a:fillRect/>
          </a:stretch>
        </p:blipFill>
        <p:spPr>
          <a:xfrm>
            <a:off x="6091555" y="2064385"/>
            <a:ext cx="4586605" cy="1744980"/>
          </a:xfrm>
          <a:prstGeom prst="rect">
            <a:avLst/>
          </a:prstGeom>
        </p:spPr>
      </p:pic>
      <p:pic>
        <p:nvPicPr>
          <p:cNvPr id="12" name="图片 11" descr="V8)HO[0UP84$(YX1YR_3RQV"/>
          <p:cNvPicPr>
            <a:picLocks noChangeAspect="1"/>
          </p:cNvPicPr>
          <p:nvPr/>
        </p:nvPicPr>
        <p:blipFill>
          <a:blip r:embed="rId4"/>
          <a:srcRect l="10899" t="12547" r="14088"/>
          <a:stretch>
            <a:fillRect/>
          </a:stretch>
        </p:blipFill>
        <p:spPr>
          <a:xfrm>
            <a:off x="401320" y="3898900"/>
            <a:ext cx="4676140" cy="2633345"/>
          </a:xfrm>
          <a:prstGeom prst="rect">
            <a:avLst/>
          </a:prstGeom>
        </p:spPr>
      </p:pic>
      <p:pic>
        <p:nvPicPr>
          <p:cNvPr id="15" name="图片 14" descr="N6CWMA2~NI@RMLY(B68KH{B"/>
          <p:cNvPicPr>
            <a:picLocks noChangeAspect="1"/>
          </p:cNvPicPr>
          <p:nvPr/>
        </p:nvPicPr>
        <p:blipFill>
          <a:blip r:embed="rId5"/>
          <a:srcRect r="8008" b="8645"/>
          <a:stretch>
            <a:fillRect/>
          </a:stretch>
        </p:blipFill>
        <p:spPr>
          <a:xfrm>
            <a:off x="5581650" y="4199255"/>
            <a:ext cx="6492240" cy="2247900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>
          <a:xfrm>
            <a:off x="3361055" y="2849880"/>
            <a:ext cx="963930" cy="321310"/>
          </a:xfrm>
          <a:prstGeom prst="rect">
            <a:avLst/>
          </a:prstGeom>
          <a:noFill/>
          <a:ln w="38100"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右箭头 17"/>
          <p:cNvSpPr/>
          <p:nvPr/>
        </p:nvSpPr>
        <p:spPr>
          <a:xfrm>
            <a:off x="4464685" y="2882265"/>
            <a:ext cx="1304925" cy="288925"/>
          </a:xfrm>
          <a:prstGeom prst="rightArrow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9" name="直接箭头连接符 18"/>
          <p:cNvCxnSpPr/>
          <p:nvPr/>
        </p:nvCxnSpPr>
        <p:spPr>
          <a:xfrm flipH="1">
            <a:off x="4570730" y="2465070"/>
            <a:ext cx="1916430" cy="1648460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箭头连接符 19"/>
          <p:cNvCxnSpPr/>
          <p:nvPr/>
        </p:nvCxnSpPr>
        <p:spPr>
          <a:xfrm>
            <a:off x="6946900" y="2882265"/>
            <a:ext cx="1880870" cy="1316990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5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5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2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PRESET_TEXT" val="点击输入大标题"/>
  <p:tag name="KSO_WM_UNIT_NOCLEAR" val="0"/>
  <p:tag name="KSO_WM_UNIT_VALUE" val="26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00321_1*a*1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ISNUMDGMTITLE" val="0"/>
  <p:tag name="KSO_WM_UNIT_SHOW_EDIT_AREA_INDICATION" val="1"/>
  <p:tag name="KSO_WM_UNIT_PLACING_PICTURE_MD4" val="0"/>
  <p:tag name="KSO_WM_UNIT_DEFAULT_FONT" val="32;36;4"/>
  <p:tag name="KSO_WM_UNIT_BLOCK" val="0"/>
  <p:tag name="KSO_WM_UNIT_SM_LIMIT_TYP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1"/>
  <p:tag name="KSO_WM_UNIT_ID" val="diagram20200321_1*i*1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PLACING_PICTURE_MD4" val="0"/>
  <p:tag name="KSO_WM_UNIT_BLOCK" val="0"/>
  <p:tag name="KSO_WM_UNIT_SM_LIMIT_TYPE" val="1"/>
  <p:tag name="KSO_WM_UNIT_DECORATE_INFO" val="{&quot;DecorateInfoX&quot;:{&quot;IsLeft&quot;:true,&quot;IsRight&quot;:false,&quot;IsAbs&quot;:false},&quot;DecorateInfoY&quot;:{&quot;IsTop&quot;:true,&quot;IsBottom&quot;:false,&quot;IsAbs&quot;:false}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00321_1*i*2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PLACING_PICTURE_MD4" val="0"/>
  <p:tag name="KSO_WM_UNIT_SM_LIMIT_TYP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3"/>
  <p:tag name="KSO_WM_UNIT_ID" val="diagram20200321_1*i*3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PLACING_PICTURE_MD4" val="0"/>
  <p:tag name="KSO_WM_UNIT_SM_LIMIT_TYPE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00321_1"/>
  <p:tag name="KSO_WM_TEMPLATE_SUBCATEGORY" val="11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00321"/>
  <p:tag name="KSO_WM_SLIDE_LAYOUT" val="a_d_f"/>
  <p:tag name="KSO_WM_SLIDE_LAYOUT_CNT" val="1_1_1"/>
  <p:tag name="KSO_WM_SLIDE_TYPE" val="text"/>
  <p:tag name="KSO_WM_SLIDE_SUBTYPE" val="picTxt"/>
  <p:tag name="KSO_WM_SLIDE_SIZE" val="866*458"/>
  <p:tag name="KSO_WM_SLIDE_POSITION" val="47*34"/>
  <p:tag name="KSO_WM_TEMPLATE_MASTER_TYPE" val="0"/>
  <p:tag name="KSO_WM_TEMPLATE_COLOR_TYPE" val="1"/>
  <p:tag name="KSO_WM_UNIT_SHOW_EDIT_AREA_INDICATION" val="1"/>
  <p:tag name="KSO_WM_SLIDE_LAYOUT_INFO" val="{&quot;direction&quot;:0,&quot;horizontalAlign&quot;:-1,&quot;verticalAlign&quot;:-1,&quot;type&quot;:1,&quot;diagramDirection&quot;:0,&quot;canSetOverLayout&quot;:0,&quot;isOverLayout&quot;:0,&quot;normalSize&quot;:{&quot;size1&quot;:24.6},&quot;minSize&quot;:{&quot;size1&quot;:24.6},&quot;maxSize&quot;:{&quot;size1&quot;:32.8},&quot;edge&quot;:{&quot;left&quot;:true,&quot;top&quot;:true,&quot;right&quot;:true,&quot;bottom&quot;:true},&quot;backgroundInfo&quot;:[{&quot;type&quot;:&quot;general&quot;,&quot;left&quot;:0.0,&quot;top&quot;:0.0,&quot;right&quot;:0.0,&quot;bottom&quot;:0.0,&quot;leftAbs&quot;:false,&quot;topAbs&quot;:false,&quot;rightAbs&quot;:false,&quot;bottomAbs&quot;:false},{&quot;type&quot;:&quot;frame&quot;,&quot;left&quot;:0.0,&quot;top&quot;:0.0,&quot;right&quot;:0.0,&quot;bottom&quot;:0.0,&quot;leftAbs&quot;:false,&quot;topAbs&quot;:false,&quot;rightAbs&quot;:false,&quot;bottomAbs&quot;:false}],&quot;subLayout&quot;:[{&quot;direction&quot;:0,&quot;horizontalAlign&quot;:0,&quot;verticalAlign&quot;:1,&quot;type&quot;:0,&quot;diagramDirection&quot;:0,&quot;canSetOverLayout&quot;:0,&quot;isOverLayout&quot;:0,&quot;margin&quot;:{&quot;left&quot;:1.69,&quot;top&quot;:1.69,&quot;right&quot;:1.69,&quot;bottom&quot;:1.244},&quot;edge&quot;:{&quot;left&quot;:true,&quot;top&quot;:true,&quot;right&quot;:true,&quot;bottom&quot;:false}},{&quot;direction&quot;:1,&quot;horizontalAlign&quot;:-1,&quot;verticalAlign&quot;:-1,&quot;type&quot;:0,&quot;diagramDirection&quot;:0,&quot;canSetOverLayout&quot;:0,&quot;isOverLayout&quot;:0,&quot;normalSize&quot;:{&quot;size1&quot;:68.1},&quot;minSize&quot;:{&quot;size1&quot;:36.2},&quot;maxSize&quot;:{&quot;size1&quot;:68.1},&quot;edge&quot;:{&quot;left&quot;:true,&quot;top&quot;:false,&quot;right&quot;:true,&quot;bottom&quot;:true},&quot;backgroundInfo&quot;:[{&quot;type&quot;:&quot;bottomTop&quot;,&quot;left&quot;:0.0,&quot;top&quot;:-0.05835757,&quot;right&quot;:0.0,&quot;bottom&quot;:0.05835757,&quot;leftAbs&quot;:false,&quot;topAbs&quot;:false,&quot;rightAbs&quot;:false,&quot;bottomAbs&quot;:false}],&quot;subLayout&quot;:[{&quot;direction&quot;:0,&quot;horizontalAlign&quot;:0,&quot;verticalAlign&quot;:1,&quot;type&quot;:1,&quot;diagramDirection&quot;:0,&quot;canSetOverLayout&quot;:1,&quot;isOverLayout&quot;:0,&quot;margin&quot;:{&quot;left&quot;:1.703,&quot;top&quot;:0.026,&quot;right&quot;:1.034,&quot;bottom&quot;:1.69},&quot;marginOverLayout&quot;:{&quot;left&quot;:0.0,&quot;top&quot;:0.026,&quot;right&quot;:1.034,&quot;bottom&quot;:1.69},&quot;edge&quot;:{&quot;left&quot;:true,&quot;top&quot;:false,&quot;right&quot;:false,&quot;bottom&quot;:true}},{&quot;direction&quot;:0,&quot;horizontalAlign&quot;:0,&quot;verticalAlign&quot;:1,&quot;type&quot;:0,&quot;diagramDirection&quot;:0,&quot;canSetOverLayout&quot;:0,&quot;isOverLayout&quot;:0,&quot;margin&quot;:{&quot;left&quot;:0.026,&quot;top&quot;:0.026,&quot;right&quot;:1.69,&quot;bottom&quot;:1.69},&quot;edge&quot;:{&quot;left&quot;:false,&quot;top&quot;:false,&quot;right&quot;:true,&quot;bottom&quot;:true}}]}]}"/>
  <p:tag name="KSO_WM_SLIDE_CAN_ADD_NAVIGATION" val="1"/>
  <p:tag name="KSO_WM_SLIDE_BACKGROUND" val="[&quot;general&quot;,&quot;frame&quot;,&quot;bottomTop&quot;]"/>
  <p:tag name="KSO_WM_SLIDE_RATIO" val="1.77777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PRESET_TEXT" val="点击输入大标题"/>
  <p:tag name="KSO_WM_UNIT_NOCLEAR" val="0"/>
  <p:tag name="KSO_WM_UNIT_VALUE" val="26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00321_1*a*1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ISNUMDGMTITLE" val="0"/>
  <p:tag name="KSO_WM_UNIT_SHOW_EDIT_AREA_INDICATION" val="1"/>
  <p:tag name="KSO_WM_UNIT_PLACING_PICTURE_MD4" val="0"/>
  <p:tag name="KSO_WM_UNIT_DEFAULT_FONT" val="32;36;4"/>
  <p:tag name="KSO_WM_UNIT_BLOCK" val="0"/>
  <p:tag name="KSO_WM_UNIT_SM_LIMIT_TYP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1"/>
  <p:tag name="KSO_WM_UNIT_ID" val="diagram20200321_1*i*1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PLACING_PICTURE_MD4" val="0"/>
  <p:tag name="KSO_WM_UNIT_BLOCK" val="0"/>
  <p:tag name="KSO_WM_UNIT_SM_LIMIT_TYPE" val="1"/>
  <p:tag name="KSO_WM_UNIT_DECORATE_INFO" val="{&quot;DecorateInfoX&quot;:{&quot;IsLeft&quot;:true,&quot;IsRight&quot;:false,&quot;IsAbs&quot;:false},&quot;DecorateInfoY&quot;:{&quot;IsTop&quot;:true,&quot;IsBottom&quot;:false,&quot;IsAbs&quot;:false}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00321_1*i*2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PLACING_PICTURE_MD4" val="0"/>
  <p:tag name="KSO_WM_UNIT_SM_LIMIT_TYP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3"/>
  <p:tag name="KSO_WM_UNIT_ID" val="diagram20200321_1*i*3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PLACING_PICTURE_MD4" val="0"/>
  <p:tag name="KSO_WM_UNIT_SM_LIMIT_TYP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00321_1"/>
  <p:tag name="KSO_WM_TEMPLATE_SUBCATEGORY" val="11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00321"/>
  <p:tag name="KSO_WM_SLIDE_LAYOUT" val="a_d_f"/>
  <p:tag name="KSO_WM_SLIDE_LAYOUT_CNT" val="1_1_1"/>
  <p:tag name="KSO_WM_SLIDE_TYPE" val="text"/>
  <p:tag name="KSO_WM_SLIDE_SUBTYPE" val="picTxt"/>
  <p:tag name="KSO_WM_SLIDE_SIZE" val="866*458"/>
  <p:tag name="KSO_WM_SLIDE_POSITION" val="47*34"/>
  <p:tag name="KSO_WM_TEMPLATE_MASTER_TYPE" val="0"/>
  <p:tag name="KSO_WM_TEMPLATE_COLOR_TYPE" val="1"/>
  <p:tag name="KSO_WM_UNIT_SHOW_EDIT_AREA_INDICATION" val="1"/>
  <p:tag name="KSO_WM_SLIDE_LAYOUT_INFO" val="{&quot;direction&quot;:0,&quot;horizontalAlign&quot;:-1,&quot;verticalAlign&quot;:-1,&quot;type&quot;:1,&quot;diagramDirection&quot;:0,&quot;canSetOverLayout&quot;:0,&quot;isOverLayout&quot;:0,&quot;normalSize&quot;:{&quot;size1&quot;:24.6},&quot;minSize&quot;:{&quot;size1&quot;:24.6},&quot;maxSize&quot;:{&quot;size1&quot;:32.8},&quot;edge&quot;:{&quot;left&quot;:true,&quot;top&quot;:true,&quot;right&quot;:true,&quot;bottom&quot;:true},&quot;backgroundInfo&quot;:[{&quot;type&quot;:&quot;general&quot;,&quot;left&quot;:0.0,&quot;top&quot;:0.0,&quot;right&quot;:0.0,&quot;bottom&quot;:0.0,&quot;leftAbs&quot;:false,&quot;topAbs&quot;:false,&quot;rightAbs&quot;:false,&quot;bottomAbs&quot;:false},{&quot;type&quot;:&quot;frame&quot;,&quot;left&quot;:0.0,&quot;top&quot;:0.0,&quot;right&quot;:0.0,&quot;bottom&quot;:0.0,&quot;leftAbs&quot;:false,&quot;topAbs&quot;:false,&quot;rightAbs&quot;:false,&quot;bottomAbs&quot;:false}],&quot;subLayout&quot;:[{&quot;direction&quot;:0,&quot;horizontalAlign&quot;:0,&quot;verticalAlign&quot;:1,&quot;type&quot;:0,&quot;diagramDirection&quot;:0,&quot;canSetOverLayout&quot;:0,&quot;isOverLayout&quot;:0,&quot;margin&quot;:{&quot;left&quot;:1.69,&quot;top&quot;:1.69,&quot;right&quot;:1.69,&quot;bottom&quot;:1.244},&quot;edge&quot;:{&quot;left&quot;:true,&quot;top&quot;:true,&quot;right&quot;:true,&quot;bottom&quot;:false}},{&quot;direction&quot;:1,&quot;horizontalAlign&quot;:-1,&quot;verticalAlign&quot;:-1,&quot;type&quot;:0,&quot;diagramDirection&quot;:0,&quot;canSetOverLayout&quot;:0,&quot;isOverLayout&quot;:0,&quot;normalSize&quot;:{&quot;size1&quot;:68.1},&quot;minSize&quot;:{&quot;size1&quot;:36.2},&quot;maxSize&quot;:{&quot;size1&quot;:68.1},&quot;edge&quot;:{&quot;left&quot;:true,&quot;top&quot;:false,&quot;right&quot;:true,&quot;bottom&quot;:true},&quot;backgroundInfo&quot;:[{&quot;type&quot;:&quot;bottomTop&quot;,&quot;left&quot;:0.0,&quot;top&quot;:-0.05835757,&quot;right&quot;:0.0,&quot;bottom&quot;:0.05835757,&quot;leftAbs&quot;:false,&quot;topAbs&quot;:false,&quot;rightAbs&quot;:false,&quot;bottomAbs&quot;:false}],&quot;subLayout&quot;:[{&quot;direction&quot;:0,&quot;horizontalAlign&quot;:0,&quot;verticalAlign&quot;:1,&quot;type&quot;:1,&quot;diagramDirection&quot;:0,&quot;canSetOverLayout&quot;:1,&quot;isOverLayout&quot;:0,&quot;margin&quot;:{&quot;left&quot;:1.703,&quot;top&quot;:0.026,&quot;right&quot;:1.034,&quot;bottom&quot;:1.69},&quot;marginOverLayout&quot;:{&quot;left&quot;:0.0,&quot;top&quot;:0.026,&quot;right&quot;:1.034,&quot;bottom&quot;:1.69},&quot;edge&quot;:{&quot;left&quot;:true,&quot;top&quot;:false,&quot;right&quot;:false,&quot;bottom&quot;:true}},{&quot;direction&quot;:0,&quot;horizontalAlign&quot;:0,&quot;verticalAlign&quot;:1,&quot;type&quot;:0,&quot;diagramDirection&quot;:0,&quot;canSetOverLayout&quot;:0,&quot;isOverLayout&quot;:0,&quot;margin&quot;:{&quot;left&quot;:0.026,&quot;top&quot;:0.026,&quot;right&quot;:1.69,&quot;bottom&quot;:1.69},&quot;edge&quot;:{&quot;left&quot;:false,&quot;top&quot;:false,&quot;right&quot;:true,&quot;bottom&quot;:true}}]}]}"/>
  <p:tag name="KSO_WM_SLIDE_CAN_ADD_NAVIGATION" val="1"/>
  <p:tag name="KSO_WM_SLIDE_BACKGROUND" val="[&quot;general&quot;,&quot;frame&quot;,&quot;bottomTop&quot;]"/>
  <p:tag name="KSO_WM_SLIDE_RATIO" val="1.77777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1148,&quot;width&quot;:17160}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PRESET_TEXT" val="点击输入大标题"/>
  <p:tag name="KSO_WM_UNIT_NOCLEAR" val="0"/>
  <p:tag name="KSO_WM_UNIT_VALUE" val="26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00321_1*a*1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ISNUMDGMTITLE" val="0"/>
  <p:tag name="KSO_WM_UNIT_SHOW_EDIT_AREA_INDICATION" val="1"/>
  <p:tag name="KSO_WM_UNIT_PLACING_PICTURE_MD4" val="0"/>
  <p:tag name="KSO_WM_UNIT_DEFAULT_FONT" val="32;36;4"/>
  <p:tag name="KSO_WM_UNIT_BLOCK" val="0"/>
  <p:tag name="KSO_WM_UNIT_SM_LIMIT_TYP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1"/>
  <p:tag name="KSO_WM_UNIT_ID" val="diagram20200321_1*i*1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PLACING_PICTURE_MD4" val="0"/>
  <p:tag name="KSO_WM_UNIT_BLOCK" val="0"/>
  <p:tag name="KSO_WM_UNIT_SM_LIMIT_TYPE" val="1"/>
  <p:tag name="KSO_WM_UNIT_DECORATE_INFO" val="{&quot;DecorateInfoX&quot;:{&quot;IsLeft&quot;:true,&quot;IsRight&quot;:false,&quot;IsAbs&quot;:false},&quot;DecorateInfoY&quot;:{&quot;IsTop&quot;:true,&quot;IsBottom&quot;:false,&quot;IsAbs&quot;:false}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RESET_TEXT" val="点击输入正文"/>
  <p:tag name="KSO_WM_UNIT_NOCLEAR" val="0"/>
  <p:tag name="KSO_WM_UNIT_VALUE" val="154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00321_1*f*1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SHOW_EDIT_AREA_INDICATION" val="1"/>
  <p:tag name="KSO_WM_UNIT_PLACING_PICTURE_MD4" val="0"/>
  <p:tag name="KSO_WM_UNIT_DEFAULT_FONT" val="14;18;2"/>
  <p:tag name="KSO_WM_UNIT_BLOCK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00321_1*i*2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PLACING_PICTURE_MD4" val="0"/>
  <p:tag name="KSO_WM_UNIT_SM_LIMIT_TYP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3"/>
  <p:tag name="KSO_WM_UNIT_ID" val="diagram20200321_1*i*3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PLACING_PICTURE_MD4" val="0"/>
  <p:tag name="KSO_WM_UNIT_SM_LIMIT_TYP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00321_1"/>
  <p:tag name="KSO_WM_TEMPLATE_SUBCATEGORY" val="11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00321"/>
  <p:tag name="KSO_WM_SLIDE_LAYOUT" val="a_d_f"/>
  <p:tag name="KSO_WM_SLIDE_LAYOUT_CNT" val="1_1_1"/>
  <p:tag name="KSO_WM_SLIDE_TYPE" val="text"/>
  <p:tag name="KSO_WM_SLIDE_SUBTYPE" val="picTxt"/>
  <p:tag name="KSO_WM_SLIDE_SIZE" val="866*458"/>
  <p:tag name="KSO_WM_SLIDE_POSITION" val="47*34"/>
  <p:tag name="KSO_WM_TEMPLATE_MASTER_TYPE" val="0"/>
  <p:tag name="KSO_WM_TEMPLATE_COLOR_TYPE" val="1"/>
  <p:tag name="KSO_WM_UNIT_SHOW_EDIT_AREA_INDICATION" val="1"/>
  <p:tag name="KSO_WM_SLIDE_LAYOUT_INFO" val="{&quot;direction&quot;:0,&quot;horizontalAlign&quot;:-1,&quot;verticalAlign&quot;:-1,&quot;type&quot;:1,&quot;diagramDirection&quot;:0,&quot;canSetOverLayout&quot;:0,&quot;isOverLayout&quot;:0,&quot;normalSize&quot;:{&quot;size1&quot;:24.6},&quot;minSize&quot;:{&quot;size1&quot;:24.6},&quot;maxSize&quot;:{&quot;size1&quot;:32.8},&quot;edge&quot;:{&quot;left&quot;:true,&quot;top&quot;:true,&quot;right&quot;:true,&quot;bottom&quot;:true},&quot;backgroundInfo&quot;:[{&quot;type&quot;:&quot;general&quot;,&quot;left&quot;:0.0,&quot;top&quot;:0.0,&quot;right&quot;:0.0,&quot;bottom&quot;:0.0,&quot;leftAbs&quot;:false,&quot;topAbs&quot;:false,&quot;rightAbs&quot;:false,&quot;bottomAbs&quot;:false},{&quot;type&quot;:&quot;frame&quot;,&quot;left&quot;:0.0,&quot;top&quot;:0.0,&quot;right&quot;:0.0,&quot;bottom&quot;:0.0,&quot;leftAbs&quot;:false,&quot;topAbs&quot;:false,&quot;rightAbs&quot;:false,&quot;bottomAbs&quot;:false}],&quot;subLayout&quot;:[{&quot;direction&quot;:0,&quot;horizontalAlign&quot;:0,&quot;verticalAlign&quot;:1,&quot;type&quot;:0,&quot;diagramDirection&quot;:0,&quot;canSetOverLayout&quot;:0,&quot;isOverLayout&quot;:0,&quot;margin&quot;:{&quot;left&quot;:1.69,&quot;top&quot;:1.69,&quot;right&quot;:1.69,&quot;bottom&quot;:1.244},&quot;edge&quot;:{&quot;left&quot;:true,&quot;top&quot;:true,&quot;right&quot;:true,&quot;bottom&quot;:false}},{&quot;direction&quot;:1,&quot;horizontalAlign&quot;:-1,&quot;verticalAlign&quot;:-1,&quot;type&quot;:0,&quot;diagramDirection&quot;:0,&quot;canSetOverLayout&quot;:0,&quot;isOverLayout&quot;:0,&quot;normalSize&quot;:{&quot;size1&quot;:68.1},&quot;minSize&quot;:{&quot;size1&quot;:36.2},&quot;maxSize&quot;:{&quot;size1&quot;:68.1},&quot;edge&quot;:{&quot;left&quot;:true,&quot;top&quot;:false,&quot;right&quot;:true,&quot;bottom&quot;:true},&quot;backgroundInfo&quot;:[{&quot;type&quot;:&quot;bottomTop&quot;,&quot;left&quot;:0.0,&quot;top&quot;:-0.05835757,&quot;right&quot;:0.0,&quot;bottom&quot;:0.05835757,&quot;leftAbs&quot;:false,&quot;topAbs&quot;:false,&quot;rightAbs&quot;:false,&quot;bottomAbs&quot;:false}],&quot;subLayout&quot;:[{&quot;direction&quot;:0,&quot;horizontalAlign&quot;:0,&quot;verticalAlign&quot;:1,&quot;type&quot;:1,&quot;diagramDirection&quot;:0,&quot;canSetOverLayout&quot;:1,&quot;isOverLayout&quot;:0,&quot;margin&quot;:{&quot;left&quot;:1.703,&quot;top&quot;:0.026,&quot;right&quot;:1.034,&quot;bottom&quot;:1.69},&quot;marginOverLayout&quot;:{&quot;left&quot;:0.0,&quot;top&quot;:0.026,&quot;right&quot;:1.034,&quot;bottom&quot;:1.69},&quot;edge&quot;:{&quot;left&quot;:true,&quot;top&quot;:false,&quot;right&quot;:false,&quot;bottom&quot;:true}},{&quot;direction&quot;:0,&quot;horizontalAlign&quot;:0,&quot;verticalAlign&quot;:1,&quot;type&quot;:0,&quot;diagramDirection&quot;:0,&quot;canSetOverLayout&quot;:0,&quot;isOverLayout&quot;:0,&quot;margin&quot;:{&quot;left&quot;:0.026,&quot;top&quot;:0.026,&quot;right&quot;:1.69,&quot;bottom&quot;:1.69},&quot;edge&quot;:{&quot;left&quot;:false,&quot;top&quot;:false,&quot;right&quot;:true,&quot;bottom&quot;:true}}]}]}"/>
  <p:tag name="KSO_WM_SLIDE_CAN_ADD_NAVIGATION" val="1"/>
  <p:tag name="KSO_WM_SLIDE_BACKGROUND" val="[&quot;general&quot;,&quot;frame&quot;,&quot;bottomTop&quot;]"/>
  <p:tag name="KSO_WM_SLIDE_RATIO" val="1.77777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PRESET_TEXT" val="点击输入大标题"/>
  <p:tag name="KSO_WM_UNIT_NOCLEAR" val="0"/>
  <p:tag name="KSO_WM_UNIT_VALUE" val="26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00321_1*a*1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ISNUMDGMTITLE" val="0"/>
  <p:tag name="KSO_WM_UNIT_SHOW_EDIT_AREA_INDICATION" val="1"/>
  <p:tag name="KSO_WM_UNIT_PLACING_PICTURE_MD4" val="0"/>
  <p:tag name="KSO_WM_UNIT_DEFAULT_FONT" val="32;36;4"/>
  <p:tag name="KSO_WM_UNIT_BLOCK" val="0"/>
  <p:tag name="KSO_WM_UNIT_SM_LIMIT_TYP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RESET_TEXT" val="点击输入正文"/>
  <p:tag name="KSO_WM_UNIT_NOCLEAR" val="0"/>
  <p:tag name="KSO_WM_UNIT_VALUE" val="154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00321_1*f*1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SHOW_EDIT_AREA_INDICATION" val="1"/>
  <p:tag name="KSO_WM_UNIT_PLACING_PICTURE_MD4" val="0"/>
  <p:tag name="KSO_WM_UNIT_DEFAULT_FONT" val="14;18;2"/>
  <p:tag name="KSO_WM_UNIT_BLOCK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1"/>
  <p:tag name="KSO_WM_UNIT_ID" val="diagram20200321_1*i*1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PLACING_PICTURE_MD4" val="0"/>
  <p:tag name="KSO_WM_UNIT_BLOCK" val="0"/>
  <p:tag name="KSO_WM_UNIT_SM_LIMIT_TYPE" val="1"/>
  <p:tag name="KSO_WM_UNIT_DECORATE_INFO" val="{&quot;DecorateInfoX&quot;:{&quot;IsLeft&quot;:true,&quot;IsRight&quot;:false,&quot;IsAbs&quot;:false},&quot;DecorateInfoY&quot;:{&quot;IsTop&quot;:true,&quot;IsBottom&quot;:false,&quot;IsAbs&quot;:false}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00321_1*i*2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PLACING_PICTURE_MD4" val="0"/>
  <p:tag name="KSO_WM_UNIT_SM_LIMIT_TYP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00321_1"/>
  <p:tag name="KSO_WM_TEMPLATE_SUBCATEGORY" val="11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00321"/>
  <p:tag name="KSO_WM_SLIDE_LAYOUT" val="a_d_f"/>
  <p:tag name="KSO_WM_SLIDE_LAYOUT_CNT" val="1_1_1"/>
  <p:tag name="KSO_WM_SLIDE_TYPE" val="text"/>
  <p:tag name="KSO_WM_SLIDE_SUBTYPE" val="picTxt"/>
  <p:tag name="KSO_WM_SLIDE_SIZE" val="866*458"/>
  <p:tag name="KSO_WM_SLIDE_POSITION" val="47*34"/>
  <p:tag name="KSO_WM_TEMPLATE_MASTER_TYPE" val="0"/>
  <p:tag name="KSO_WM_TEMPLATE_COLOR_TYPE" val="1"/>
  <p:tag name="KSO_WM_UNIT_SHOW_EDIT_AREA_INDICATION" val="1"/>
  <p:tag name="KSO_WM_SLIDE_LAYOUT_INFO" val="{&quot;direction&quot;:0,&quot;horizontalAlign&quot;:-1,&quot;verticalAlign&quot;:-1,&quot;type&quot;:1,&quot;diagramDirection&quot;:0,&quot;canSetOverLayout&quot;:0,&quot;isOverLayout&quot;:0,&quot;normalSize&quot;:{&quot;size1&quot;:24.6},&quot;minSize&quot;:{&quot;size1&quot;:24.6},&quot;maxSize&quot;:{&quot;size1&quot;:32.8},&quot;edge&quot;:{&quot;left&quot;:true,&quot;top&quot;:true,&quot;right&quot;:true,&quot;bottom&quot;:true},&quot;backgroundInfo&quot;:[{&quot;type&quot;:&quot;general&quot;,&quot;left&quot;:0.0,&quot;top&quot;:0.0,&quot;right&quot;:0.0,&quot;bottom&quot;:0.0,&quot;leftAbs&quot;:false,&quot;topAbs&quot;:false,&quot;rightAbs&quot;:false,&quot;bottomAbs&quot;:false},{&quot;type&quot;:&quot;frame&quot;,&quot;left&quot;:0.0,&quot;top&quot;:0.0,&quot;right&quot;:0.0,&quot;bottom&quot;:0.0,&quot;leftAbs&quot;:false,&quot;topAbs&quot;:false,&quot;rightAbs&quot;:false,&quot;bottomAbs&quot;:false}],&quot;subLayout&quot;:[{&quot;direction&quot;:0,&quot;horizontalAlign&quot;:0,&quot;verticalAlign&quot;:1,&quot;type&quot;:0,&quot;diagramDirection&quot;:0,&quot;canSetOverLayout&quot;:0,&quot;isOverLayout&quot;:0,&quot;margin&quot;:{&quot;left&quot;:1.69,&quot;top&quot;:1.69,&quot;right&quot;:1.69,&quot;bottom&quot;:1.244},&quot;edge&quot;:{&quot;left&quot;:true,&quot;top&quot;:true,&quot;right&quot;:true,&quot;bottom&quot;:false}},{&quot;direction&quot;:1,&quot;horizontalAlign&quot;:-1,&quot;verticalAlign&quot;:-1,&quot;type&quot;:0,&quot;diagramDirection&quot;:0,&quot;canSetOverLayout&quot;:0,&quot;isOverLayout&quot;:0,&quot;normalSize&quot;:{&quot;size1&quot;:68.1},&quot;minSize&quot;:{&quot;size1&quot;:36.2},&quot;maxSize&quot;:{&quot;size1&quot;:68.1},&quot;edge&quot;:{&quot;left&quot;:true,&quot;top&quot;:false,&quot;right&quot;:true,&quot;bottom&quot;:true},&quot;backgroundInfo&quot;:[{&quot;type&quot;:&quot;bottomTop&quot;,&quot;left&quot;:0.0,&quot;top&quot;:-0.05835757,&quot;right&quot;:0.0,&quot;bottom&quot;:0.05835757,&quot;leftAbs&quot;:false,&quot;topAbs&quot;:false,&quot;rightAbs&quot;:false,&quot;bottomAbs&quot;:false}],&quot;subLayout&quot;:[{&quot;direction&quot;:0,&quot;horizontalAlign&quot;:0,&quot;verticalAlign&quot;:1,&quot;type&quot;:1,&quot;diagramDirection&quot;:0,&quot;canSetOverLayout&quot;:1,&quot;isOverLayout&quot;:0,&quot;margin&quot;:{&quot;left&quot;:1.703,&quot;top&quot;:0.026,&quot;right&quot;:1.034,&quot;bottom&quot;:1.69},&quot;marginOverLayout&quot;:{&quot;left&quot;:0.0,&quot;top&quot;:0.026,&quot;right&quot;:1.034,&quot;bottom&quot;:1.69},&quot;edge&quot;:{&quot;left&quot;:true,&quot;top&quot;:false,&quot;right&quot;:false,&quot;bottom&quot;:true}},{&quot;direction&quot;:0,&quot;horizontalAlign&quot;:0,&quot;verticalAlign&quot;:1,&quot;type&quot;:0,&quot;diagramDirection&quot;:0,&quot;canSetOverLayout&quot;:0,&quot;isOverLayout&quot;:0,&quot;margin&quot;:{&quot;left&quot;:0.026,&quot;top&quot;:0.026,&quot;right&quot;:1.69,&quot;bottom&quot;:1.69},&quot;edge&quot;:{&quot;left&quot;:false,&quot;top&quot;:false,&quot;right&quot;:true,&quot;bottom&quot;:true}}]}]}"/>
  <p:tag name="KSO_WM_SLIDE_CAN_ADD_NAVIGATION" val="1"/>
  <p:tag name="KSO_WM_SLIDE_BACKGROUND" val="[&quot;general&quot;,&quot;frame&quot;,&quot;bottomTop&quot;]"/>
  <p:tag name="KSO_WM_SLIDE_RATIO" val="1.777778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3"/>
  <p:tag name="KSO_WM_UNIT_ID" val="diagram20200321_1*i*3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PLACING_PICTURE_MD4" val="0"/>
  <p:tag name="KSO_WM_UNIT_SM_LIMIT_TYP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00321_1"/>
  <p:tag name="KSO_WM_TEMPLATE_SUBCATEGORY" val="11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00321"/>
  <p:tag name="KSO_WM_SLIDE_LAYOUT" val="a_d_f"/>
  <p:tag name="KSO_WM_SLIDE_LAYOUT_CNT" val="1_1_1"/>
  <p:tag name="KSO_WM_SLIDE_TYPE" val="text"/>
  <p:tag name="KSO_WM_SLIDE_SUBTYPE" val="picTxt"/>
  <p:tag name="KSO_WM_SLIDE_SIZE" val="866*458"/>
  <p:tag name="KSO_WM_SLIDE_POSITION" val="47*34"/>
  <p:tag name="KSO_WM_TEMPLATE_MASTER_TYPE" val="0"/>
  <p:tag name="KSO_WM_TEMPLATE_COLOR_TYPE" val="1"/>
  <p:tag name="KSO_WM_UNIT_SHOW_EDIT_AREA_INDICATION" val="1"/>
  <p:tag name="KSO_WM_SLIDE_LAYOUT_INFO" val="{&quot;direction&quot;:0,&quot;horizontalAlign&quot;:-1,&quot;verticalAlign&quot;:-1,&quot;type&quot;:1,&quot;diagramDirection&quot;:0,&quot;canSetOverLayout&quot;:0,&quot;isOverLayout&quot;:0,&quot;normalSize&quot;:{&quot;size1&quot;:24.6},&quot;minSize&quot;:{&quot;size1&quot;:24.6},&quot;maxSize&quot;:{&quot;size1&quot;:32.8},&quot;edge&quot;:{&quot;left&quot;:true,&quot;top&quot;:true,&quot;right&quot;:true,&quot;bottom&quot;:true},&quot;backgroundInfo&quot;:[{&quot;type&quot;:&quot;general&quot;,&quot;left&quot;:0.0,&quot;top&quot;:0.0,&quot;right&quot;:0.0,&quot;bottom&quot;:0.0,&quot;leftAbs&quot;:false,&quot;topAbs&quot;:false,&quot;rightAbs&quot;:false,&quot;bottomAbs&quot;:false},{&quot;type&quot;:&quot;frame&quot;,&quot;left&quot;:0.0,&quot;top&quot;:0.0,&quot;right&quot;:0.0,&quot;bottom&quot;:0.0,&quot;leftAbs&quot;:false,&quot;topAbs&quot;:false,&quot;rightAbs&quot;:false,&quot;bottomAbs&quot;:false}],&quot;subLayout&quot;:[{&quot;direction&quot;:0,&quot;horizontalAlign&quot;:0,&quot;verticalAlign&quot;:1,&quot;type&quot;:0,&quot;diagramDirection&quot;:0,&quot;canSetOverLayout&quot;:0,&quot;isOverLayout&quot;:0,&quot;margin&quot;:{&quot;left&quot;:1.69,&quot;top&quot;:1.69,&quot;right&quot;:1.69,&quot;bottom&quot;:1.244},&quot;edge&quot;:{&quot;left&quot;:true,&quot;top&quot;:true,&quot;right&quot;:true,&quot;bottom&quot;:false}},{&quot;direction&quot;:1,&quot;horizontalAlign&quot;:-1,&quot;verticalAlign&quot;:-1,&quot;type&quot;:0,&quot;diagramDirection&quot;:0,&quot;canSetOverLayout&quot;:0,&quot;isOverLayout&quot;:0,&quot;normalSize&quot;:{&quot;size1&quot;:68.1},&quot;minSize&quot;:{&quot;size1&quot;:36.2},&quot;maxSize&quot;:{&quot;size1&quot;:68.1},&quot;edge&quot;:{&quot;left&quot;:true,&quot;top&quot;:false,&quot;right&quot;:true,&quot;bottom&quot;:true},&quot;backgroundInfo&quot;:[{&quot;type&quot;:&quot;bottomTop&quot;,&quot;left&quot;:0.0,&quot;top&quot;:-0.05835757,&quot;right&quot;:0.0,&quot;bottom&quot;:0.05835757,&quot;leftAbs&quot;:false,&quot;topAbs&quot;:false,&quot;rightAbs&quot;:false,&quot;bottomAbs&quot;:false}],&quot;subLayout&quot;:[{&quot;direction&quot;:0,&quot;horizontalAlign&quot;:0,&quot;verticalAlign&quot;:1,&quot;type&quot;:1,&quot;diagramDirection&quot;:0,&quot;canSetOverLayout&quot;:1,&quot;isOverLayout&quot;:0,&quot;margin&quot;:{&quot;left&quot;:1.703,&quot;top&quot;:0.026,&quot;right&quot;:1.034,&quot;bottom&quot;:1.69},&quot;marginOverLayout&quot;:{&quot;left&quot;:0.0,&quot;top&quot;:0.026,&quot;right&quot;:1.034,&quot;bottom&quot;:1.69},&quot;edge&quot;:{&quot;left&quot;:true,&quot;top&quot;:false,&quot;right&quot;:false,&quot;bottom&quot;:true}},{&quot;direction&quot;:0,&quot;horizontalAlign&quot;:0,&quot;verticalAlign&quot;:1,&quot;type&quot;:0,&quot;diagramDirection&quot;:0,&quot;canSetOverLayout&quot;:0,&quot;isOverLayout&quot;:0,&quot;margin&quot;:{&quot;left&quot;:0.026,&quot;top&quot;:0.026,&quot;right&quot;:1.69,&quot;bottom&quot;:1.69},&quot;edge&quot;:{&quot;left&quot;:false,&quot;top&quot;:false,&quot;right&quot;:true,&quot;bottom&quot;:true}}]}]}"/>
  <p:tag name="KSO_WM_SLIDE_CAN_ADD_NAVIGATION" val="1"/>
  <p:tag name="KSO_WM_SLIDE_BACKGROUND" val="[&quot;general&quot;,&quot;frame&quot;,&quot;bottomTop&quot;]"/>
  <p:tag name="KSO_WM_SLIDE_RATIO" val="1.77777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PRESET_TEXT" val="点击输入大标题"/>
  <p:tag name="KSO_WM_UNIT_NOCLEAR" val="0"/>
  <p:tag name="KSO_WM_UNIT_VALUE" val="26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00321_1*a*1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ISNUMDGMTITLE" val="0"/>
  <p:tag name="KSO_WM_UNIT_SHOW_EDIT_AREA_INDICATION" val="1"/>
  <p:tag name="KSO_WM_UNIT_PLACING_PICTURE_MD4" val="0"/>
  <p:tag name="KSO_WM_UNIT_DEFAULT_FONT" val="32;36;4"/>
  <p:tag name="KSO_WM_UNIT_BLOCK" val="0"/>
  <p:tag name="KSO_WM_UNIT_SM_LIMIT_TYP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1"/>
  <p:tag name="KSO_WM_UNIT_ID" val="diagram20200321_1*i*1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PLACING_PICTURE_MD4" val="0"/>
  <p:tag name="KSO_WM_UNIT_BLOCK" val="0"/>
  <p:tag name="KSO_WM_UNIT_SM_LIMIT_TYPE" val="1"/>
  <p:tag name="KSO_WM_UNIT_DECORATE_INFO" val="{&quot;DecorateInfoX&quot;:{&quot;IsLeft&quot;:true,&quot;IsRight&quot;:false,&quot;IsAbs&quot;:false},&quot;DecorateInfoY&quot;:{&quot;IsTop&quot;:true,&quot;IsBottom&quot;:false,&quot;IsAbs&quot;:false}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00321_1*i*2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PLACING_PICTURE_MD4" val="0"/>
  <p:tag name="KSO_WM_UNIT_SM_LIMIT_TYP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3"/>
  <p:tag name="KSO_WM_UNIT_ID" val="diagram20200321_1*i*3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PLACING_PICTURE_MD4" val="0"/>
  <p:tag name="KSO_WM_UNIT_SM_LIMIT_TYP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#wm#"/>
  <p:tag name="KSO_WM_TEMPLATE_CATEGORY" val="diagram"/>
  <p:tag name="KSO_WM_TEMPLATE_INDEX" val="2020032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PRESET_TEXT" val="点击输入大标题"/>
  <p:tag name="KSO_WM_UNIT_NOCLEAR" val="0"/>
  <p:tag name="KSO_WM_UNIT_VALUE" val="26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00321_1*a*1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ISNUMDGMTITLE" val="0"/>
  <p:tag name="KSO_WM_UNIT_SHOW_EDIT_AREA_INDICATION" val="1"/>
  <p:tag name="KSO_WM_UNIT_PLACING_PICTURE_MD4" val="0"/>
  <p:tag name="KSO_WM_UNIT_DEFAULT_FONT" val="32;36;4"/>
  <p:tag name="KSO_WM_UNIT_BLOCK" val="0"/>
  <p:tag name="KSO_WM_UNIT_SM_LIMIT_TYP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#wm#"/>
  <p:tag name="KSO_WM_TEMPLATE_CATEGORY" val="diagram"/>
  <p:tag name="KSO_WM_TEMPLATE_INDEX" val="2020032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PRESET_TEXT" val="点击输入大标题"/>
  <p:tag name="KSO_WM_UNIT_NOCLEAR" val="0"/>
  <p:tag name="KSO_WM_UNIT_VALUE" val="26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00321_1*a*1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ISNUMDGMTITLE" val="0"/>
  <p:tag name="KSO_WM_UNIT_SHOW_EDIT_AREA_INDICATION" val="1"/>
  <p:tag name="KSO_WM_UNIT_PLACING_PICTURE_MD4" val="0"/>
  <p:tag name="KSO_WM_UNIT_DEFAULT_FONT" val="32;36;4"/>
  <p:tag name="KSO_WM_UNIT_BLOCK" val="0"/>
  <p:tag name="KSO_WM_UNIT_SM_LIMIT_TYP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PRESET_TEXT" val="点击输入大标题"/>
  <p:tag name="KSO_WM_UNIT_NOCLEAR" val="0"/>
  <p:tag name="KSO_WM_UNIT_VALUE" val="26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00321_1*a*1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ISNUMDGMTITLE" val="0"/>
  <p:tag name="KSO_WM_UNIT_SHOW_EDIT_AREA_INDICATION" val="1"/>
  <p:tag name="KSO_WM_UNIT_PLACING_PICTURE_MD4" val="0"/>
  <p:tag name="KSO_WM_UNIT_DEFAULT_FONT" val="32;36;4"/>
  <p:tag name="KSO_WM_UNIT_BLOCK" val="0"/>
  <p:tag name="KSO_WM_UNIT_SM_LIMIT_TYPE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RESET_TEXT" val="点击输入正文"/>
  <p:tag name="KSO_WM_UNIT_NOCLEAR" val="0"/>
  <p:tag name="KSO_WM_UNIT_VALUE" val="154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00321_1*f*1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SHOW_EDIT_AREA_INDICATION" val="1"/>
  <p:tag name="KSO_WM_UNIT_PLACING_PICTURE_MD4" val="0"/>
  <p:tag name="KSO_WM_UNIT_DEFAULT_FONT" val="14;18;2"/>
  <p:tag name="KSO_WM_UNIT_BLOCK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1"/>
  <p:tag name="KSO_WM_UNIT_ID" val="diagram20200321_1*i*1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PLACING_PICTURE_MD4" val="0"/>
  <p:tag name="KSO_WM_UNIT_BLOCK" val="0"/>
  <p:tag name="KSO_WM_UNIT_SM_LIMIT_TYPE" val="1"/>
  <p:tag name="KSO_WM_UNIT_DECORATE_INFO" val="{&quot;DecorateInfoX&quot;:{&quot;IsLeft&quot;:true,&quot;IsRight&quot;:false,&quot;IsAbs&quot;:false},&quot;DecorateInfoY&quot;:{&quot;IsTop&quot;:true,&quot;IsBottom&quot;:false,&quot;IsAbs&quot;:false}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00321_1*i*2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PLACING_PICTURE_MD4" val="0"/>
  <p:tag name="KSO_WM_UNIT_SM_LIMIT_TYP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3"/>
  <p:tag name="KSO_WM_UNIT_ID" val="diagram20200321_1*i*3"/>
  <p:tag name="KSO_WM_TEMPLATE_CATEGORY" val="diagram"/>
  <p:tag name="KSO_WM_TEMPLATE_INDEX" val="20200321"/>
  <p:tag name="KSO_WM_UNIT_LAYERLEVEL" val="1"/>
  <p:tag name="KSO_WM_TAG_VERSION" val="1.0"/>
  <p:tag name="KSO_WM_BEAUTIFY_FLAG" val="#wm#"/>
  <p:tag name="KSO_WM_UNIT_PLACING_PICTURE_MD4" val="0"/>
  <p:tag name="KSO_WM_UNIT_SM_LIMIT_TYP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00321_1"/>
  <p:tag name="KSO_WM_TEMPLATE_SUBCATEGORY" val="11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00321"/>
  <p:tag name="KSO_WM_SLIDE_LAYOUT" val="a_d_f"/>
  <p:tag name="KSO_WM_SLIDE_LAYOUT_CNT" val="1_1_1"/>
  <p:tag name="KSO_WM_SLIDE_TYPE" val="text"/>
  <p:tag name="KSO_WM_SLIDE_SUBTYPE" val="picTxt"/>
  <p:tag name="KSO_WM_SLIDE_SIZE" val="866*458"/>
  <p:tag name="KSO_WM_SLIDE_POSITION" val="47*34"/>
  <p:tag name="KSO_WM_TEMPLATE_MASTER_TYPE" val="0"/>
  <p:tag name="KSO_WM_TEMPLATE_COLOR_TYPE" val="1"/>
  <p:tag name="KSO_WM_UNIT_SHOW_EDIT_AREA_INDICATION" val="1"/>
  <p:tag name="KSO_WM_SLIDE_LAYOUT_INFO" val="{&quot;direction&quot;:0,&quot;horizontalAlign&quot;:-1,&quot;verticalAlign&quot;:-1,&quot;type&quot;:1,&quot;diagramDirection&quot;:0,&quot;canSetOverLayout&quot;:0,&quot;isOverLayout&quot;:0,&quot;normalSize&quot;:{&quot;size1&quot;:24.6},&quot;minSize&quot;:{&quot;size1&quot;:24.6},&quot;maxSize&quot;:{&quot;size1&quot;:32.8},&quot;edge&quot;:{&quot;left&quot;:true,&quot;top&quot;:true,&quot;right&quot;:true,&quot;bottom&quot;:true},&quot;backgroundInfo&quot;:[{&quot;type&quot;:&quot;general&quot;,&quot;left&quot;:0.0,&quot;top&quot;:0.0,&quot;right&quot;:0.0,&quot;bottom&quot;:0.0,&quot;leftAbs&quot;:false,&quot;topAbs&quot;:false,&quot;rightAbs&quot;:false,&quot;bottomAbs&quot;:false},{&quot;type&quot;:&quot;frame&quot;,&quot;left&quot;:0.0,&quot;top&quot;:0.0,&quot;right&quot;:0.0,&quot;bottom&quot;:0.0,&quot;leftAbs&quot;:false,&quot;topAbs&quot;:false,&quot;rightAbs&quot;:false,&quot;bottomAbs&quot;:false}],&quot;subLayout&quot;:[{&quot;direction&quot;:0,&quot;horizontalAlign&quot;:0,&quot;verticalAlign&quot;:1,&quot;type&quot;:0,&quot;diagramDirection&quot;:0,&quot;canSetOverLayout&quot;:0,&quot;isOverLayout&quot;:0,&quot;margin&quot;:{&quot;left&quot;:1.69,&quot;top&quot;:1.69,&quot;right&quot;:1.69,&quot;bottom&quot;:1.244},&quot;edge&quot;:{&quot;left&quot;:true,&quot;top&quot;:true,&quot;right&quot;:true,&quot;bottom&quot;:false}},{&quot;direction&quot;:1,&quot;horizontalAlign&quot;:-1,&quot;verticalAlign&quot;:-1,&quot;type&quot;:0,&quot;diagramDirection&quot;:0,&quot;canSetOverLayout&quot;:0,&quot;isOverLayout&quot;:0,&quot;normalSize&quot;:{&quot;size1&quot;:68.1},&quot;minSize&quot;:{&quot;size1&quot;:36.2},&quot;maxSize&quot;:{&quot;size1&quot;:68.1},&quot;edge&quot;:{&quot;left&quot;:true,&quot;top&quot;:false,&quot;right&quot;:true,&quot;bottom&quot;:true},&quot;backgroundInfo&quot;:[{&quot;type&quot;:&quot;bottomTop&quot;,&quot;left&quot;:0.0,&quot;top&quot;:-0.05835757,&quot;right&quot;:0.0,&quot;bottom&quot;:0.05835757,&quot;leftAbs&quot;:false,&quot;topAbs&quot;:false,&quot;rightAbs&quot;:false,&quot;bottomAbs&quot;:false}],&quot;subLayout&quot;:[{&quot;direction&quot;:0,&quot;horizontalAlign&quot;:0,&quot;verticalAlign&quot;:1,&quot;type&quot;:1,&quot;diagramDirection&quot;:0,&quot;canSetOverLayout&quot;:1,&quot;isOverLayout&quot;:0,&quot;margin&quot;:{&quot;left&quot;:1.703,&quot;top&quot;:0.026,&quot;right&quot;:1.034,&quot;bottom&quot;:1.69},&quot;marginOverLayout&quot;:{&quot;left&quot;:0.0,&quot;top&quot;:0.026,&quot;right&quot;:1.034,&quot;bottom&quot;:1.69},&quot;edge&quot;:{&quot;left&quot;:true,&quot;top&quot;:false,&quot;right&quot;:false,&quot;bottom&quot;:true}},{&quot;direction&quot;:0,&quot;horizontalAlign&quot;:0,&quot;verticalAlign&quot;:1,&quot;type&quot;:0,&quot;diagramDirection&quot;:0,&quot;canSetOverLayout&quot;:0,&quot;isOverLayout&quot;:0,&quot;margin&quot;:{&quot;left&quot;:0.026,&quot;top&quot;:0.026,&quot;right&quot;:1.69,&quot;bottom&quot;:1.69},&quot;edge&quot;:{&quot;left&quot;:false,&quot;top&quot;:false,&quot;right&quot;:true,&quot;bottom&quot;:true}}]}]}"/>
  <p:tag name="KSO_WM_SLIDE_CAN_ADD_NAVIGATION" val="1"/>
  <p:tag name="KSO_WM_SLIDE_BACKGROUND" val="[&quot;general&quot;,&quot;frame&quot;,&quot;bottomTop&quot;]"/>
  <p:tag name="KSO_WM_SLIDE_RATIO" val="1.777778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BC3649"/>
      </a:accent1>
      <a:accent2>
        <a:srgbClr val="6A868F"/>
      </a:accent2>
      <a:accent3>
        <a:srgbClr val="31778D"/>
      </a:accent3>
      <a:accent4>
        <a:srgbClr val="D6C88B"/>
      </a:accent4>
      <a:accent5>
        <a:srgbClr val="D66E49"/>
      </a:accent5>
      <a:accent6>
        <a:srgbClr val="649EB2"/>
      </a:accent6>
      <a:hlink>
        <a:srgbClr val="BC3649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/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316</Words>
  <Application>Microsoft Office PowerPoint</Application>
  <PresentationFormat>宽屏</PresentationFormat>
  <Paragraphs>214</Paragraphs>
  <Slides>22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30" baseType="lpstr">
      <vt:lpstr>等线</vt:lpstr>
      <vt:lpstr>黑体</vt:lpstr>
      <vt:lpstr>微软雅黑</vt:lpstr>
      <vt:lpstr>Arial</vt:lpstr>
      <vt:lpstr>Bahnschrift SemiLight</vt:lpstr>
      <vt:lpstr>Calibri</vt:lpstr>
      <vt:lpstr>Impact</vt:lpstr>
      <vt:lpstr>主题5</vt:lpstr>
      <vt:lpstr>智能化在线测试教育平台</vt:lpstr>
      <vt:lpstr>PowerPoint 演示文稿</vt:lpstr>
      <vt:lpstr>背景介绍</vt:lpstr>
      <vt:lpstr>项目简介</vt:lpstr>
      <vt:lpstr>一、题目发布与测试案例管理编辑模块</vt:lpstr>
      <vt:lpstr>一、题目发布与测试案例管理编辑模块</vt:lpstr>
      <vt:lpstr>二、在线答题与判题模块</vt:lpstr>
      <vt:lpstr>三、教师与课程管理模块</vt:lpstr>
      <vt:lpstr>三、教师与课程管理模块</vt:lpstr>
      <vt:lpstr>三、教师与课程管理模块</vt:lpstr>
      <vt:lpstr>四、人脸识别与作弊检测模块</vt:lpstr>
      <vt:lpstr>五、成绩分析与推荐系统模块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请各位评委老师评指正 谢谢观看！</vt:lpstr>
    </vt:vector>
  </TitlesOfParts>
  <Manager>iSlide</Manager>
  <Company>iSlid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智科2002有关  “学习 卫生 早操 ” 汇报和计划</dc:title>
  <dc:creator>iSlide</dc:creator>
  <cp:lastModifiedBy>294</cp:lastModifiedBy>
  <cp:revision>57</cp:revision>
  <dcterms:created xsi:type="dcterms:W3CDTF">2020-10-28T15:47:00Z</dcterms:created>
  <dcterms:modified xsi:type="dcterms:W3CDTF">2021-09-25T09:33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9208</vt:lpwstr>
  </property>
  <property fmtid="{D5CDD505-2E9C-101B-9397-08002B2CF9AE}" pid="4" name="ICV">
    <vt:lpwstr>72B45AC0B8D04674A8C1839D53AE9C30</vt:lpwstr>
  </property>
</Properties>
</file>